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</p:sldMasterIdLst>
  <p:notesMasterIdLst>
    <p:notesMasterId r:id="rId54"/>
  </p:notesMasterIdLst>
  <p:handoutMasterIdLst>
    <p:handoutMasterId r:id="rId55"/>
  </p:handoutMasterIdLst>
  <p:sldIdLst>
    <p:sldId id="1280" r:id="rId2"/>
    <p:sldId id="1331" r:id="rId3"/>
    <p:sldId id="1282" r:id="rId4"/>
    <p:sldId id="1283" r:id="rId5"/>
    <p:sldId id="1284" r:id="rId6"/>
    <p:sldId id="1285" r:id="rId7"/>
    <p:sldId id="1286" r:id="rId8"/>
    <p:sldId id="1287" r:id="rId9"/>
    <p:sldId id="1288" r:id="rId10"/>
    <p:sldId id="1289" r:id="rId11"/>
    <p:sldId id="1290" r:id="rId12"/>
    <p:sldId id="1291" r:id="rId13"/>
    <p:sldId id="1292" r:id="rId14"/>
    <p:sldId id="1293" r:id="rId15"/>
    <p:sldId id="1294" r:id="rId16"/>
    <p:sldId id="1295" r:id="rId17"/>
    <p:sldId id="1296" r:id="rId18"/>
    <p:sldId id="1297" r:id="rId19"/>
    <p:sldId id="1314" r:id="rId20"/>
    <p:sldId id="1298" r:id="rId21"/>
    <p:sldId id="1299" r:id="rId22"/>
    <p:sldId id="1300" r:id="rId23"/>
    <p:sldId id="1301" r:id="rId24"/>
    <p:sldId id="1302" r:id="rId25"/>
    <p:sldId id="1303" r:id="rId26"/>
    <p:sldId id="1304" r:id="rId27"/>
    <p:sldId id="1305" r:id="rId28"/>
    <p:sldId id="1306" r:id="rId29"/>
    <p:sldId id="1307" r:id="rId30"/>
    <p:sldId id="1308" r:id="rId31"/>
    <p:sldId id="1309" r:id="rId32"/>
    <p:sldId id="1310" r:id="rId33"/>
    <p:sldId id="1311" r:id="rId34"/>
    <p:sldId id="1312" r:id="rId35"/>
    <p:sldId id="1313" r:id="rId36"/>
    <p:sldId id="1315" r:id="rId37"/>
    <p:sldId id="1316" r:id="rId38"/>
    <p:sldId id="1317" r:id="rId39"/>
    <p:sldId id="1318" r:id="rId40"/>
    <p:sldId id="1319" r:id="rId41"/>
    <p:sldId id="1320" r:id="rId42"/>
    <p:sldId id="1321" r:id="rId43"/>
    <p:sldId id="1322" r:id="rId44"/>
    <p:sldId id="1323" r:id="rId45"/>
    <p:sldId id="1324" r:id="rId46"/>
    <p:sldId id="1325" r:id="rId47"/>
    <p:sldId id="1326" r:id="rId48"/>
    <p:sldId id="1327" r:id="rId49"/>
    <p:sldId id="1328" r:id="rId50"/>
    <p:sldId id="1329" r:id="rId51"/>
    <p:sldId id="1330" r:id="rId52"/>
    <p:sldId id="1276" r:id="rId53"/>
  </p:sldIdLst>
  <p:sldSz cx="12192000" cy="6858000"/>
  <p:notesSz cx="6858000" cy="9144000"/>
  <p:custDataLst>
    <p:tags r:id="rId56"/>
  </p:custDataLst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ack page" id="{6BCD45B3-2298-4D52-B139-0FD53CDAF6FC}">
          <p14:sldIdLst>
            <p14:sldId id="1280"/>
            <p14:sldId id="1331"/>
            <p14:sldId id="1282"/>
            <p14:sldId id="1283"/>
            <p14:sldId id="1284"/>
            <p14:sldId id="1285"/>
            <p14:sldId id="1286"/>
            <p14:sldId id="1287"/>
            <p14:sldId id="1288"/>
            <p14:sldId id="1289"/>
            <p14:sldId id="1290"/>
            <p14:sldId id="1291"/>
            <p14:sldId id="1292"/>
            <p14:sldId id="1293"/>
            <p14:sldId id="1294"/>
            <p14:sldId id="1295"/>
            <p14:sldId id="1296"/>
            <p14:sldId id="1297"/>
            <p14:sldId id="1314"/>
            <p14:sldId id="1298"/>
            <p14:sldId id="1299"/>
            <p14:sldId id="1300"/>
            <p14:sldId id="1301"/>
            <p14:sldId id="1302"/>
            <p14:sldId id="1303"/>
            <p14:sldId id="1304"/>
            <p14:sldId id="1305"/>
            <p14:sldId id="1306"/>
            <p14:sldId id="1307"/>
            <p14:sldId id="1308"/>
            <p14:sldId id="1309"/>
            <p14:sldId id="1310"/>
            <p14:sldId id="1311"/>
            <p14:sldId id="1312"/>
            <p14:sldId id="1313"/>
            <p14:sldId id="1315"/>
            <p14:sldId id="1316"/>
            <p14:sldId id="1317"/>
            <p14:sldId id="1318"/>
            <p14:sldId id="1319"/>
            <p14:sldId id="1320"/>
            <p14:sldId id="1321"/>
            <p14:sldId id="1322"/>
            <p14:sldId id="1323"/>
            <p14:sldId id="1324"/>
            <p14:sldId id="1325"/>
            <p14:sldId id="1326"/>
            <p14:sldId id="1327"/>
            <p14:sldId id="1328"/>
            <p14:sldId id="1329"/>
            <p14:sldId id="1330"/>
            <p14:sldId id="1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57" userDrawn="1">
          <p15:clr>
            <a:srgbClr val="A4A3A4"/>
          </p15:clr>
        </p15:guide>
        <p15:guide id="5" pos="3727" userDrawn="1">
          <p15:clr>
            <a:srgbClr val="A4A3A4"/>
          </p15:clr>
        </p15:guide>
        <p15:guide id="6" pos="3976" userDrawn="1">
          <p15:clr>
            <a:srgbClr val="A4A3A4"/>
          </p15:clr>
        </p15:guide>
        <p15:guide id="7" orient="horz" pos="2160" userDrawn="1">
          <p15:clr>
            <a:srgbClr val="A4A3A4"/>
          </p15:clr>
        </p15:guide>
        <p15:guide id="8" orient="horz" pos="1729" userDrawn="1">
          <p15:clr>
            <a:srgbClr val="A4A3A4"/>
          </p15:clr>
        </p15:guide>
        <p15:guide id="9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4959122-5F43-49E0-F0CE-BB9473DF117C}" name="ANGGI" initials="A" userId="ANGGI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UARIO" initials="U" lastIdx="1" clrIdx="0">
    <p:extLst>
      <p:ext uri="{19B8F6BF-5375-455C-9EA6-DF929625EA0E}">
        <p15:presenceInfo xmlns:p15="http://schemas.microsoft.com/office/powerpoint/2012/main" userId="USUARIO" providerId="None"/>
      </p:ext>
    </p:extLst>
  </p:cmAuthor>
  <p:cmAuthor id="2" name="himawan@24slides.com" initials="h" lastIdx="7" clrIdx="1">
    <p:extLst>
      <p:ext uri="{19B8F6BF-5375-455C-9EA6-DF929625EA0E}">
        <p15:presenceInfo xmlns:p15="http://schemas.microsoft.com/office/powerpoint/2012/main" userId="65aff67b3a2b32e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A73"/>
    <a:srgbClr val="2088C6"/>
    <a:srgbClr val="F1B831"/>
    <a:srgbClr val="F07130"/>
    <a:srgbClr val="CF2353"/>
    <a:srgbClr val="6260A7"/>
    <a:srgbClr val="00448D"/>
    <a:srgbClr val="003285"/>
    <a:srgbClr val="002C73"/>
    <a:srgbClr val="6785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101" autoAdjust="0"/>
    <p:restoredTop sz="95383" autoAdjust="0"/>
  </p:normalViewPr>
  <p:slideViewPr>
    <p:cSldViewPr snapToGrid="0">
      <p:cViewPr varScale="1">
        <p:scale>
          <a:sx n="118" d="100"/>
          <a:sy n="118" d="100"/>
        </p:scale>
        <p:origin x="744" y="67"/>
      </p:cViewPr>
      <p:guideLst>
        <p:guide orient="horz" pos="3657"/>
        <p:guide pos="3727"/>
        <p:guide pos="3976"/>
        <p:guide orient="horz" pos="2160"/>
        <p:guide orient="horz" pos="1729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-7814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62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commentAuthors" Target="commentAuthor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D731D330-5F00-4B8B-A760-B16E1588F6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0460C4AB-086E-4AC5-AE93-696CBA5212A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AE558-A2BB-45DB-9BE1-122238006367}" type="datetimeFigureOut">
              <a:rPr lang="es-PE" smtClean="0"/>
              <a:t>1/06/2023</a:t>
            </a:fld>
            <a:endParaRPr lang="es-PE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F4B9F204-29EE-4D29-AC72-4E3DF8D648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B7F696B-9DAB-4AA4-94C2-D655581AE9B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84CD65-90B4-49D5-AFA3-2FC43E289040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369089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F82B08-7850-4C85-9A17-F3B88EFF191A}" type="datetimeFigureOut">
              <a:rPr lang="es-PE" smtClean="0"/>
              <a:t>1/06/2023</a:t>
            </a:fld>
            <a:endParaRPr lang="es-P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54874C-0099-4377-A1C9-7B158C19DE6B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723401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4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4217831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1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1244512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17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237401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18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118564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20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97242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21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3692724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ith massive data we collect, we would like to have the visibility, find the threat accurately and effectively, and at the same time we can have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Y</a:t>
            </a:r>
            <a:r>
              <a:rPr lang="x-none" dirty="0"/>
              <a:t>ou can customize the rules of threat log analysis engines, like malicious, phishing, DDoS, based on the log you collec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22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674184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2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254664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4874C-0099-4377-A1C9-7B158C19DE6B}" type="slidenum">
              <a:rPr lang="es-PE" smtClean="0"/>
              <a:t>2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988629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2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863546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27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9324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need an XDR system that could help solve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imary requirements: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ntralization of normalized data: </a:t>
            </a:r>
          </a:p>
          <a:p>
            <a:pPr marL="742950" lvl="1" indent="-285750">
              <a:buFont typeface="+mj-lt"/>
              <a:buAutoNum type="romanU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ect as much data as possible from various sourc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stomer may eliminate the vendor-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ck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742950" lvl="1" indent="-285750">
              <a:buFont typeface="+mj-lt"/>
              <a:buAutoNum type="romanU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asier for data storage and further analysis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Correlation of security data and alerts into incidents or to find the threat. 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A centralized incident response capability that can change the state of individua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products as part of incident response or security policy setting</a:t>
            </a:r>
          </a:p>
          <a:p>
            <a:endParaRPr lang="x-none" dirty="0"/>
          </a:p>
          <a:p>
            <a:r>
              <a:rPr lang="x-none" dirty="0"/>
              <a:t>4. A Centralized dashboard t</a:t>
            </a:r>
            <a:r>
              <a:rPr lang="en-US" dirty="0"/>
              <a:t>ha</a:t>
            </a:r>
            <a:r>
              <a:rPr lang="x-none" dirty="0"/>
              <a:t>t would enable the full visibility to the entire security fabric. </a:t>
            </a:r>
          </a:p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5251355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28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35153076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29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9417641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30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0178063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31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26359934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3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7861931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34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348722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35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83026365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3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1217949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4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8534939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44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6797579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altLang="zh-CN" sz="1200" b="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ollect data, like </a:t>
            </a:r>
            <a:r>
              <a:rPr lang="en-US" altLang="zh-CN" sz="1200" b="0" dirty="0" err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syslogs</a:t>
            </a:r>
            <a:r>
              <a:rPr lang="en-US" altLang="zh-CN" sz="1200" b="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/ metadata/</a:t>
            </a:r>
            <a:r>
              <a:rPr lang="en-US" altLang="zh-CN" sz="1200" b="0" dirty="0" err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etflow</a:t>
            </a:r>
            <a:r>
              <a:rPr lang="en-US" altLang="zh-CN" sz="1200" b="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, from endpoints, Hillstone network devices or cloud products or 3</a:t>
            </a:r>
            <a:r>
              <a:rPr lang="en-US" altLang="zh-CN" sz="1200" b="0" baseline="300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d</a:t>
            </a:r>
            <a:r>
              <a:rPr lang="en-US" altLang="zh-CN" sz="1200" b="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 party security devices. 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altLang="zh-CN" sz="1200" b="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Source offer the advance threat analysis, </a:t>
            </a:r>
            <a:r>
              <a:rPr lang="en-US" altLang="zh-CN" sz="1200" b="0" dirty="0" err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e.g</a:t>
            </a:r>
            <a:r>
              <a:rPr lang="en-US" altLang="zh-CN" sz="1200" b="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 signature based detection, correlation analysis, NTA, UEBA; or with the help of the intelligence that was shared by the intelligence center. 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altLang="zh-CN" sz="1200" b="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rovide the full visibility of the entire security fabric,  and more importantly,  the security posture of all the assets in the organization, e.g. which server or service are compromised potentially. 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altLang="zh-CN" sz="1200" b="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utomate the security orchestration and response with interactive enforcement to those integrated security products.(policy aggregation) </a:t>
            </a:r>
          </a:p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8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0412028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45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007916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9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9334358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10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300896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11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414215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1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34874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14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22267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8AA1C7-0EBC-AB44-BBBE-FE2662E329A6}" type="slidenum">
              <a:rPr lang="x-none" smtClean="0"/>
              <a:t>15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86072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3.svg"/><Relationship Id="rId7" Type="http://schemas.openxmlformats.org/officeDocument/2006/relationships/image" Target="../media/image1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5.svg"/><Relationship Id="rId4" Type="http://schemas.openxmlformats.org/officeDocument/2006/relationships/image" Target="../media/image10.png"/><Relationship Id="rId9" Type="http://schemas.openxmlformats.org/officeDocument/2006/relationships/image" Target="../media/image19.sv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9.svg"/><Relationship Id="rId3" Type="http://schemas.openxmlformats.org/officeDocument/2006/relationships/image" Target="../media/image3.svg"/><Relationship Id="rId7" Type="http://schemas.openxmlformats.org/officeDocument/2006/relationships/image" Target="../media/image23.svg"/><Relationship Id="rId12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5" Type="http://schemas.openxmlformats.org/officeDocument/2006/relationships/image" Target="../media/image31.svg"/><Relationship Id="rId10" Type="http://schemas.openxmlformats.org/officeDocument/2006/relationships/image" Target="../media/image16.png"/><Relationship Id="rId4" Type="http://schemas.openxmlformats.org/officeDocument/2006/relationships/image" Target="../media/image13.png"/><Relationship Id="rId9" Type="http://schemas.openxmlformats.org/officeDocument/2006/relationships/image" Target="../media/image25.svg"/><Relationship Id="rId14" Type="http://schemas.openxmlformats.org/officeDocument/2006/relationships/image" Target="../media/image18.png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1.svg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3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36.svg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31.svg"/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12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11" Type="http://schemas.openxmlformats.org/officeDocument/2006/relationships/image" Target="../media/image29.svg"/><Relationship Id="rId5" Type="http://schemas.openxmlformats.org/officeDocument/2006/relationships/image" Target="../media/image23.svg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openxmlformats.org/officeDocument/2006/relationships/image" Target="../media/image27.sv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svg"/><Relationship Id="rId11" Type="http://schemas.microsoft.com/office/2007/relationships/hdphoto" Target="../media/hdphoto5.wdp"/><Relationship Id="rId5" Type="http://schemas.openxmlformats.org/officeDocument/2006/relationships/image" Target="../media/image2.png"/><Relationship Id="rId10" Type="http://schemas.openxmlformats.org/officeDocument/2006/relationships/image" Target="../media/image24.png"/><Relationship Id="rId4" Type="http://schemas.openxmlformats.org/officeDocument/2006/relationships/image" Target="../media/image22.jpg"/><Relationship Id="rId9" Type="http://schemas.openxmlformats.org/officeDocument/2006/relationships/image" Target="../media/image2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microsoft.com/office/2007/relationships/hdphoto" Target="../media/hdphoto3.wdp"/><Relationship Id="rId7" Type="http://schemas.openxmlformats.org/officeDocument/2006/relationships/image" Target="../media/image9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3.svg"/><Relationship Id="rId5" Type="http://schemas.openxmlformats.org/officeDocument/2006/relationships/image" Target="../media/image3.svg"/><Relationship Id="rId10" Type="http://schemas.openxmlformats.org/officeDocument/2006/relationships/image" Target="../media/image9.png"/><Relationship Id="rId4" Type="http://schemas.openxmlformats.org/officeDocument/2006/relationships/image" Target="../media/image2.png"/><Relationship Id="rId9" Type="http://schemas.openxmlformats.org/officeDocument/2006/relationships/image" Target="../media/image11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grpSp>
        <p:nvGrpSpPr>
          <p:cNvPr id="12" name="Graphic 347">
            <a:extLst>
              <a:ext uri="{FF2B5EF4-FFF2-40B4-BE49-F238E27FC236}">
                <a16:creationId xmlns="" xmlns:a16="http://schemas.microsoft.com/office/drawing/2014/main" id="{4931AF4A-0293-4ECA-8E13-8A8C280EAF54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13" name="Freeform: Shape 12">
              <a:extLst>
                <a:ext uri="{FF2B5EF4-FFF2-40B4-BE49-F238E27FC236}">
                  <a16:creationId xmlns="" xmlns:a16="http://schemas.microsoft.com/office/drawing/2014/main" id="{77383723-0697-4A30-AE6B-D47660F332F1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="" xmlns:a16="http://schemas.microsoft.com/office/drawing/2014/main" id="{961C3047-FB13-4AF7-BE7B-1710F10589F6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="" xmlns:a16="http://schemas.microsoft.com/office/drawing/2014/main" id="{EE817D1F-48C9-436E-9BB7-EB1AC7866DC7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="" xmlns:a16="http://schemas.microsoft.com/office/drawing/2014/main" id="{60A5494A-187E-4B64-A2C0-A94C4E6CC73A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="" xmlns:a16="http://schemas.microsoft.com/office/drawing/2014/main" id="{21179613-4968-496E-970C-E210F8312CC9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="" xmlns:a16="http://schemas.microsoft.com/office/drawing/2014/main" id="{B0CA56F3-1516-4313-836A-59689C3D2A8E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="" xmlns:a16="http://schemas.microsoft.com/office/drawing/2014/main" id="{1664E8DB-A322-442E-951C-DEF5FD460F04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="" xmlns:a16="http://schemas.microsoft.com/office/drawing/2014/main" id="{14578A35-9404-461F-8369-5776E34E04B2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="" xmlns:a16="http://schemas.microsoft.com/office/drawing/2014/main" id="{D4555CD7-D403-436B-8CF8-49F1CB9CC673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="" xmlns:a16="http://schemas.microsoft.com/office/drawing/2014/main" id="{B4A77FF4-7CD0-4422-A37F-59D09BE7592C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="" xmlns:a16="http://schemas.microsoft.com/office/drawing/2014/main" id="{18895A94-B552-4F86-B3DA-98188488E8A2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="" xmlns:a16="http://schemas.microsoft.com/office/drawing/2014/main" id="{EA31A5AF-2694-41C3-B0C3-8C6A6F6DDC86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="" xmlns:a16="http://schemas.microsoft.com/office/drawing/2014/main" id="{E62FFC6B-4313-49C0-9C12-5C39B8416514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="" xmlns:a16="http://schemas.microsoft.com/office/drawing/2014/main" id="{0B3E376B-972C-471E-907A-7E675C89A6B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="" xmlns:a16="http://schemas.microsoft.com/office/drawing/2014/main" id="{4F48C49C-259B-40C3-ACE8-E34460B44DD5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="" xmlns:a16="http://schemas.microsoft.com/office/drawing/2014/main" id="{F4D18F4C-03E5-4EF0-8390-8CE2B89B5CD3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="" xmlns:a16="http://schemas.microsoft.com/office/drawing/2014/main" id="{037C4118-34A5-415B-9D42-0097F00E75E9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31" name="Title 1">
            <a:extLst>
              <a:ext uri="{FF2B5EF4-FFF2-40B4-BE49-F238E27FC236}">
                <a16:creationId xmlns="" xmlns:a16="http://schemas.microsoft.com/office/drawing/2014/main" id="{7D9335B6-E6A5-4488-A686-5A15B5AB9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950" y="1537422"/>
            <a:ext cx="11017250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es-PE" dirty="0"/>
          </a:p>
        </p:txBody>
      </p:sp>
      <p:sp>
        <p:nvSpPr>
          <p:cNvPr id="32" name="Subtitle 2">
            <a:extLst>
              <a:ext uri="{FF2B5EF4-FFF2-40B4-BE49-F238E27FC236}">
                <a16:creationId xmlns="" xmlns:a16="http://schemas.microsoft.com/office/drawing/2014/main" id="{D850F44B-E2B1-42A3-8A9D-F9B4C97732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133404"/>
            <a:ext cx="11017250" cy="332399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l"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s-PE" dirty="0"/>
          </a:p>
        </p:txBody>
      </p:sp>
      <p:sp>
        <p:nvSpPr>
          <p:cNvPr id="38" name="Text Placeholder 2">
            <a:extLst>
              <a:ext uri="{FF2B5EF4-FFF2-40B4-BE49-F238E27FC236}">
                <a16:creationId xmlns="" xmlns:a16="http://schemas.microsoft.com/office/drawing/2014/main" id="{BB1301A2-6247-4F54-87E1-3D20D0AE10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3605515"/>
            <a:ext cx="11017250" cy="331788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>
              <a:defRPr lang="en-US" sz="1800" b="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Freeform: Shape 83">
            <a:extLst>
              <a:ext uri="{FF2B5EF4-FFF2-40B4-BE49-F238E27FC236}">
                <a16:creationId xmlns="" xmlns:a16="http://schemas.microsoft.com/office/drawing/2014/main" id="{3187A176-B224-4213-88C4-224D83982304}"/>
              </a:ext>
            </a:extLst>
          </p:cNvPr>
          <p:cNvSpPr/>
          <p:nvPr userDrawn="1"/>
        </p:nvSpPr>
        <p:spPr>
          <a:xfrm>
            <a:off x="619648" y="4849883"/>
            <a:ext cx="3414726" cy="1425757"/>
          </a:xfrm>
          <a:custGeom>
            <a:avLst/>
            <a:gdLst>
              <a:gd name="connsiteX0" fmla="*/ 0 w 6440762"/>
              <a:gd name="connsiteY0" fmla="*/ 0 h 1425757"/>
              <a:gd name="connsiteX1" fmla="*/ 6440762 w 6440762"/>
              <a:gd name="connsiteY1" fmla="*/ 0 h 1425757"/>
              <a:gd name="connsiteX2" fmla="*/ 6440762 w 6440762"/>
              <a:gd name="connsiteY2" fmla="*/ 1425758 h 1425757"/>
              <a:gd name="connsiteX3" fmla="*/ 0 w 6440762"/>
              <a:gd name="connsiteY3" fmla="*/ 1425758 h 1425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0762" h="1425757">
                <a:moveTo>
                  <a:pt x="0" y="0"/>
                </a:moveTo>
                <a:lnTo>
                  <a:pt x="6440762" y="0"/>
                </a:lnTo>
                <a:lnTo>
                  <a:pt x="6440762" y="1425758"/>
                </a:lnTo>
                <a:lnTo>
                  <a:pt x="0" y="1425758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0"/>
            <a:tileRect/>
          </a:gradFill>
          <a:ln w="987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5" name="Freeform: Shape 84">
            <a:extLst>
              <a:ext uri="{FF2B5EF4-FFF2-40B4-BE49-F238E27FC236}">
                <a16:creationId xmlns="" xmlns:a16="http://schemas.microsoft.com/office/drawing/2014/main" id="{160F3DEC-34A5-4739-B349-98F8A8482ADA}"/>
              </a:ext>
            </a:extLst>
          </p:cNvPr>
          <p:cNvSpPr/>
          <p:nvPr userDrawn="1"/>
        </p:nvSpPr>
        <p:spPr>
          <a:xfrm>
            <a:off x="587375" y="4848861"/>
            <a:ext cx="29627" cy="1425757"/>
          </a:xfrm>
          <a:custGeom>
            <a:avLst/>
            <a:gdLst>
              <a:gd name="connsiteX0" fmla="*/ 0 w 29627"/>
              <a:gd name="connsiteY0" fmla="*/ 0 h 1425757"/>
              <a:gd name="connsiteX1" fmla="*/ 29628 w 29627"/>
              <a:gd name="connsiteY1" fmla="*/ 0 h 1425757"/>
              <a:gd name="connsiteX2" fmla="*/ 29628 w 29627"/>
              <a:gd name="connsiteY2" fmla="*/ 1425758 h 1425757"/>
              <a:gd name="connsiteX3" fmla="*/ 0 w 29627"/>
              <a:gd name="connsiteY3" fmla="*/ 1425758 h 1425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627" h="1425757">
                <a:moveTo>
                  <a:pt x="0" y="0"/>
                </a:moveTo>
                <a:lnTo>
                  <a:pt x="29628" y="0"/>
                </a:lnTo>
                <a:lnTo>
                  <a:pt x="29628" y="1425758"/>
                </a:lnTo>
                <a:lnTo>
                  <a:pt x="0" y="1425758"/>
                </a:lnTo>
                <a:close/>
              </a:path>
            </a:pathLst>
          </a:custGeom>
          <a:solidFill>
            <a:srgbClr val="0047AF"/>
          </a:solidFill>
          <a:ln w="987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6F28328D-C1B6-429B-84F6-B9C067ACCE46}"/>
              </a:ext>
            </a:extLst>
          </p:cNvPr>
          <p:cNvSpPr txBox="1"/>
          <p:nvPr/>
        </p:nvSpPr>
        <p:spPr>
          <a:xfrm>
            <a:off x="2210651" y="5157782"/>
            <a:ext cx="2564805" cy="8079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625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</a:t>
            </a:r>
            <a:br>
              <a:rPr lang="en-US" sz="2625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</a:br>
            <a:r>
              <a:rPr lang="en-US" sz="2625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Security</a:t>
            </a:r>
          </a:p>
        </p:txBody>
      </p:sp>
      <p:pic>
        <p:nvPicPr>
          <p:cNvPr id="6" name="Picture 5" descr="Shape&#10;&#10;Description automatically generated">
            <a:extLst>
              <a:ext uri="{FF2B5EF4-FFF2-40B4-BE49-F238E27FC236}">
                <a16:creationId xmlns="" xmlns:a16="http://schemas.microsoft.com/office/drawing/2014/main" id="{28B1AA8E-7771-51C0-0F3F-4CE470E7FB7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445" y="4916400"/>
            <a:ext cx="1290676" cy="12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7767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omn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9" y="0"/>
            <a:ext cx="12191322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A00045DA-7A11-4A58-9C6B-D8F78CBC94C1}"/>
              </a:ext>
            </a:extLst>
          </p:cNvPr>
          <p:cNvSpPr/>
          <p:nvPr userDrawn="1"/>
        </p:nvSpPr>
        <p:spPr>
          <a:xfrm flipV="1">
            <a:off x="4376660" y="2949686"/>
            <a:ext cx="3456405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="" xmlns:a16="http://schemas.microsoft.com/office/drawing/2014/main" id="{C103A1DE-64F0-4352-9F9E-39E7C6227DAD}"/>
              </a:ext>
            </a:extLst>
          </p:cNvPr>
          <p:cNvCxnSpPr>
            <a:cxnSpLocks/>
          </p:cNvCxnSpPr>
          <p:nvPr userDrawn="1"/>
        </p:nvCxnSpPr>
        <p:spPr>
          <a:xfrm>
            <a:off x="4680240" y="2949210"/>
            <a:ext cx="2849245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Oval 87">
            <a:extLst>
              <a:ext uri="{FF2B5EF4-FFF2-40B4-BE49-F238E27FC236}">
                <a16:creationId xmlns="" xmlns:a16="http://schemas.microsoft.com/office/drawing/2014/main" id="{084CEC34-63DB-410F-B0CB-DDEA24009F83}"/>
              </a:ext>
            </a:extLst>
          </p:cNvPr>
          <p:cNvSpPr/>
          <p:nvPr/>
        </p:nvSpPr>
        <p:spPr>
          <a:xfrm>
            <a:off x="5469462" y="2314593"/>
            <a:ext cx="1270800" cy="126923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Text Placeholder 71">
            <a:extLst>
              <a:ext uri="{FF2B5EF4-FFF2-40B4-BE49-F238E27FC236}">
                <a16:creationId xmlns="" xmlns:a16="http://schemas.microsoft.com/office/drawing/2014/main" id="{0876231C-BE6F-48AA-B48B-1FD255277C21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468024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4C673AFE-7560-4404-80F6-ADDC9F4D87D8}"/>
              </a:ext>
            </a:extLst>
          </p:cNvPr>
          <p:cNvSpPr/>
          <p:nvPr userDrawn="1"/>
        </p:nvSpPr>
        <p:spPr>
          <a:xfrm flipV="1">
            <a:off x="598950" y="2949686"/>
            <a:ext cx="3456405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="" xmlns:a16="http://schemas.microsoft.com/office/drawing/2014/main" id="{2C6CB26B-33BE-4851-9E2D-3A8A40A7CE27}"/>
              </a:ext>
            </a:extLst>
          </p:cNvPr>
          <p:cNvCxnSpPr>
            <a:cxnSpLocks/>
          </p:cNvCxnSpPr>
          <p:nvPr userDrawn="1"/>
        </p:nvCxnSpPr>
        <p:spPr>
          <a:xfrm>
            <a:off x="902530" y="2949210"/>
            <a:ext cx="2849245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="" xmlns:a16="http://schemas.microsoft.com/office/drawing/2014/main" id="{E7A9A034-04C1-4CBE-B796-9E8E0CCA2AD5}"/>
              </a:ext>
            </a:extLst>
          </p:cNvPr>
          <p:cNvSpPr/>
          <p:nvPr userDrawn="1"/>
        </p:nvSpPr>
        <p:spPr>
          <a:xfrm>
            <a:off x="1691752" y="2314593"/>
            <a:ext cx="1270800" cy="126923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Text Placeholder 71">
            <a:extLst>
              <a:ext uri="{FF2B5EF4-FFF2-40B4-BE49-F238E27FC236}">
                <a16:creationId xmlns="" xmlns:a16="http://schemas.microsoft.com/office/drawing/2014/main" id="{9806B418-69A8-4729-8CBA-AA026E3790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53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4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="" xmlns:a16="http://schemas.microsoft.com/office/drawing/2014/main" id="{664BEF5D-DFEF-4E4B-8DBF-D24666A59000}"/>
              </a:ext>
            </a:extLst>
          </p:cNvPr>
          <p:cNvSpPr/>
          <p:nvPr userDrawn="1"/>
        </p:nvSpPr>
        <p:spPr>
          <a:xfrm flipV="1">
            <a:off x="8154369" y="2949686"/>
            <a:ext cx="3456405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="" xmlns:a16="http://schemas.microsoft.com/office/drawing/2014/main" id="{A9430998-3BDD-40A4-9317-07351BC7E7A0}"/>
              </a:ext>
            </a:extLst>
          </p:cNvPr>
          <p:cNvCxnSpPr>
            <a:cxnSpLocks/>
          </p:cNvCxnSpPr>
          <p:nvPr userDrawn="1"/>
        </p:nvCxnSpPr>
        <p:spPr>
          <a:xfrm>
            <a:off x="8457949" y="2949210"/>
            <a:ext cx="2849245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Oval 109">
            <a:extLst>
              <a:ext uri="{FF2B5EF4-FFF2-40B4-BE49-F238E27FC236}">
                <a16:creationId xmlns="" xmlns:a16="http://schemas.microsoft.com/office/drawing/2014/main" id="{D814179B-06E7-4017-9FE0-E27B1949A225}"/>
              </a:ext>
            </a:extLst>
          </p:cNvPr>
          <p:cNvSpPr/>
          <p:nvPr userDrawn="1"/>
        </p:nvSpPr>
        <p:spPr>
          <a:xfrm>
            <a:off x="9247171" y="2314593"/>
            <a:ext cx="1270800" cy="126923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Text Placeholder 71">
            <a:extLst>
              <a:ext uri="{FF2B5EF4-FFF2-40B4-BE49-F238E27FC236}">
                <a16:creationId xmlns="" xmlns:a16="http://schemas.microsoft.com/office/drawing/2014/main" id="{4EC82022-EC12-4FFB-9F82-994EC4C93C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57949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="" xmlns:a16="http://schemas.microsoft.com/office/drawing/2014/main" id="{81DCBC12-8E85-4CB7-BC57-A991A21AD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729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19" name="Text Placeholder 73">
            <a:extLst>
              <a:ext uri="{FF2B5EF4-FFF2-40B4-BE49-F238E27FC236}">
                <a16:creationId xmlns="" xmlns:a16="http://schemas.microsoft.com/office/drawing/2014/main" id="{07EF1391-7FF7-4A2D-BD27-E5F82C4C7A3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8500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20" name="Text Placeholder 73">
            <a:extLst>
              <a:ext uri="{FF2B5EF4-FFF2-40B4-BE49-F238E27FC236}">
                <a16:creationId xmlns="" xmlns:a16="http://schemas.microsoft.com/office/drawing/2014/main" id="{85765B05-C67F-4A26-AD69-C02CD2DD19C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62710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2552FF71-0D22-4A13-9AB5-180A03F02900}"/>
              </a:ext>
            </a:extLst>
          </p:cNvPr>
          <p:cNvSpPr/>
          <p:nvPr userDrawn="1"/>
        </p:nvSpPr>
        <p:spPr>
          <a:xfrm>
            <a:off x="1881506" y="2504610"/>
            <a:ext cx="889200" cy="8892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2021F2BB-3F79-4392-98B9-492F24A247F9}"/>
              </a:ext>
            </a:extLst>
          </p:cNvPr>
          <p:cNvSpPr/>
          <p:nvPr userDrawn="1"/>
        </p:nvSpPr>
        <p:spPr>
          <a:xfrm>
            <a:off x="5648071" y="2504610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57FA6DFD-298D-4E4C-86ED-423B952F1693}"/>
              </a:ext>
            </a:extLst>
          </p:cNvPr>
          <p:cNvSpPr/>
          <p:nvPr userDrawn="1"/>
        </p:nvSpPr>
        <p:spPr>
          <a:xfrm>
            <a:off x="9422727" y="2504610"/>
            <a:ext cx="889200" cy="889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Graphic 53">
            <a:extLst>
              <a:ext uri="{FF2B5EF4-FFF2-40B4-BE49-F238E27FC236}">
                <a16:creationId xmlns="" xmlns:a16="http://schemas.microsoft.com/office/drawing/2014/main" id="{D06055C3-F318-41B2-BC1E-64F27A4A84D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08970" y="2732074"/>
            <a:ext cx="434273" cy="434273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="" xmlns:a16="http://schemas.microsoft.com/office/drawing/2014/main" id="{2514EFB0-195D-464A-9414-3B979CB678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99180" y="2724356"/>
            <a:ext cx="386982" cy="449708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="" xmlns:a16="http://schemas.microsoft.com/office/drawing/2014/main" id="{CB6151AD-3D87-4711-8982-CBE971B891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56071" y="2737954"/>
            <a:ext cx="422512" cy="422512"/>
          </a:xfrm>
          <a:prstGeom prst="rect">
            <a:avLst/>
          </a:prstGeom>
        </p:spPr>
      </p:pic>
      <p:sp>
        <p:nvSpPr>
          <p:cNvPr id="64" name="Slide Number Placeholder 5">
            <a:extLst>
              <a:ext uri="{FF2B5EF4-FFF2-40B4-BE49-F238E27FC236}">
                <a16:creationId xmlns="" xmlns:a16="http://schemas.microsoft.com/office/drawing/2014/main" id="{1D3F920B-9271-541F-E8A2-5E9C203A192A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530172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131" name="Oval 130">
            <a:extLst>
              <a:ext uri="{FF2B5EF4-FFF2-40B4-BE49-F238E27FC236}">
                <a16:creationId xmlns="" xmlns:a16="http://schemas.microsoft.com/office/drawing/2014/main" id="{6C87F724-9FC5-4877-AA09-7FB1E7235515}"/>
              </a:ext>
            </a:extLst>
          </p:cNvPr>
          <p:cNvSpPr/>
          <p:nvPr userDrawn="1"/>
        </p:nvSpPr>
        <p:spPr>
          <a:xfrm>
            <a:off x="4784112" y="1981438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="" xmlns:a16="http://schemas.microsoft.com/office/drawing/2014/main" id="{2BB7F6A5-B033-4C14-AE38-B4967C489DE0}"/>
              </a:ext>
            </a:extLst>
          </p:cNvPr>
          <p:cNvSpPr/>
          <p:nvPr userDrawn="1"/>
        </p:nvSpPr>
        <p:spPr>
          <a:xfrm>
            <a:off x="4784112" y="5012511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="" xmlns:a16="http://schemas.microsoft.com/office/drawing/2014/main" id="{B857A25B-7079-4412-A6E7-E832998207FA}"/>
              </a:ext>
            </a:extLst>
          </p:cNvPr>
          <p:cNvSpPr/>
          <p:nvPr userDrawn="1"/>
        </p:nvSpPr>
        <p:spPr>
          <a:xfrm>
            <a:off x="3920320" y="3496116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Oval 136">
            <a:extLst>
              <a:ext uri="{FF2B5EF4-FFF2-40B4-BE49-F238E27FC236}">
                <a16:creationId xmlns="" xmlns:a16="http://schemas.microsoft.com/office/drawing/2014/main" id="{0D0789A3-562A-4396-92F0-C5A20C4A9884}"/>
              </a:ext>
            </a:extLst>
          </p:cNvPr>
          <p:cNvSpPr/>
          <p:nvPr userDrawn="1"/>
        </p:nvSpPr>
        <p:spPr>
          <a:xfrm>
            <a:off x="6527005" y="1981438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="" xmlns:a16="http://schemas.microsoft.com/office/drawing/2014/main" id="{7ABB4B05-74FC-4655-9711-8243DB932699}"/>
              </a:ext>
            </a:extLst>
          </p:cNvPr>
          <p:cNvSpPr/>
          <p:nvPr userDrawn="1"/>
        </p:nvSpPr>
        <p:spPr>
          <a:xfrm>
            <a:off x="6525688" y="5012511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="" xmlns:a16="http://schemas.microsoft.com/office/drawing/2014/main" id="{22F01685-01D0-4F66-9158-2E6B2A450C84}"/>
              </a:ext>
            </a:extLst>
          </p:cNvPr>
          <p:cNvSpPr/>
          <p:nvPr userDrawn="1"/>
        </p:nvSpPr>
        <p:spPr>
          <a:xfrm>
            <a:off x="7376967" y="3496116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8" name="Freeform: Shape 27">
            <a:extLst>
              <a:ext uri="{FF2B5EF4-FFF2-40B4-BE49-F238E27FC236}">
                <a16:creationId xmlns="" xmlns:a16="http://schemas.microsoft.com/office/drawing/2014/main" id="{F787E9F0-8AD2-430E-BD07-AE01EB53B03D}"/>
              </a:ext>
            </a:extLst>
          </p:cNvPr>
          <p:cNvSpPr/>
          <p:nvPr userDrawn="1"/>
        </p:nvSpPr>
        <p:spPr>
          <a:xfrm rot="10800000" flipV="1">
            <a:off x="587375" y="20650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="" xmlns:a16="http://schemas.microsoft.com/office/drawing/2014/main" id="{843A2E07-0380-4B55-B5D6-C941DD1B3644}"/>
              </a:ext>
            </a:extLst>
          </p:cNvPr>
          <p:cNvSpPr/>
          <p:nvPr userDrawn="1"/>
        </p:nvSpPr>
        <p:spPr>
          <a:xfrm rot="10800000" flipV="1">
            <a:off x="587375" y="50956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="" xmlns:a16="http://schemas.microsoft.com/office/drawing/2014/main" id="{5A8579C2-A389-4120-B16D-7B62C069951E}"/>
              </a:ext>
            </a:extLst>
          </p:cNvPr>
          <p:cNvSpPr/>
          <p:nvPr userDrawn="1"/>
        </p:nvSpPr>
        <p:spPr>
          <a:xfrm rot="10800000" flipV="1">
            <a:off x="587375" y="3580347"/>
            <a:ext cx="3360947" cy="705764"/>
          </a:xfrm>
          <a:custGeom>
            <a:avLst/>
            <a:gdLst>
              <a:gd name="connsiteX0" fmla="*/ 3360947 w 3360947"/>
              <a:gd name="connsiteY0" fmla="*/ 0 h 705764"/>
              <a:gd name="connsiteX1" fmla="*/ 0 w 3360947"/>
              <a:gd name="connsiteY1" fmla="*/ 0 h 705764"/>
              <a:gd name="connsiteX2" fmla="*/ 41647 w 3360947"/>
              <a:gd name="connsiteY2" fmla="*/ 51349 h 705764"/>
              <a:gd name="connsiteX3" fmla="*/ 132188 w 3360947"/>
              <a:gd name="connsiteY3" fmla="*/ 352883 h 705764"/>
              <a:gd name="connsiteX4" fmla="*/ 41647 w 3360947"/>
              <a:gd name="connsiteY4" fmla="*/ 654417 h 705764"/>
              <a:gd name="connsiteX5" fmla="*/ 2 w 3360947"/>
              <a:gd name="connsiteY5" fmla="*/ 705764 h 705764"/>
              <a:gd name="connsiteX6" fmla="*/ 3360947 w 3360947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7" h="705764">
                <a:moveTo>
                  <a:pt x="3360947" y="0"/>
                </a:moveTo>
                <a:lnTo>
                  <a:pt x="0" y="0"/>
                </a:lnTo>
                <a:lnTo>
                  <a:pt x="41647" y="51349"/>
                </a:lnTo>
                <a:cubicBezTo>
                  <a:pt x="98810" y="137424"/>
                  <a:pt x="132188" y="241188"/>
                  <a:pt x="132188" y="352883"/>
                </a:cubicBezTo>
                <a:cubicBezTo>
                  <a:pt x="132188" y="464578"/>
                  <a:pt x="98810" y="568342"/>
                  <a:pt x="41647" y="654417"/>
                </a:cubicBezTo>
                <a:lnTo>
                  <a:pt x="2" y="705764"/>
                </a:lnTo>
                <a:lnTo>
                  <a:pt x="3360947" y="705764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="" xmlns:a16="http://schemas.microsoft.com/office/drawing/2014/main" id="{0733A61F-8126-4EA1-B433-89D57436B80F}"/>
              </a:ext>
            </a:extLst>
          </p:cNvPr>
          <p:cNvSpPr/>
          <p:nvPr userDrawn="1"/>
        </p:nvSpPr>
        <p:spPr>
          <a:xfrm rot="10800000" flipH="1" flipV="1">
            <a:off x="7368822" y="2065047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="" xmlns:a16="http://schemas.microsoft.com/office/drawing/2014/main" id="{2536FB0C-BF42-4DCD-9226-CF03FD7F3ECB}"/>
              </a:ext>
            </a:extLst>
          </p:cNvPr>
          <p:cNvSpPr/>
          <p:nvPr userDrawn="1"/>
        </p:nvSpPr>
        <p:spPr>
          <a:xfrm rot="10800000" flipH="1" flipV="1">
            <a:off x="7368822" y="5095648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="" xmlns:a16="http://schemas.microsoft.com/office/drawing/2014/main" id="{55CB6EE8-5014-4739-A5DE-26593DA8C536}"/>
              </a:ext>
            </a:extLst>
          </p:cNvPr>
          <p:cNvSpPr/>
          <p:nvPr userDrawn="1"/>
        </p:nvSpPr>
        <p:spPr>
          <a:xfrm rot="10800000" flipH="1" flipV="1">
            <a:off x="8243681" y="3580347"/>
            <a:ext cx="3360944" cy="705764"/>
          </a:xfrm>
          <a:custGeom>
            <a:avLst/>
            <a:gdLst>
              <a:gd name="connsiteX0" fmla="*/ 0 w 3360944"/>
              <a:gd name="connsiteY0" fmla="*/ 0 h 705764"/>
              <a:gd name="connsiteX1" fmla="*/ 3360944 w 3360944"/>
              <a:gd name="connsiteY1" fmla="*/ 0 h 705764"/>
              <a:gd name="connsiteX2" fmla="*/ 3360944 w 3360944"/>
              <a:gd name="connsiteY2" fmla="*/ 705764 h 705764"/>
              <a:gd name="connsiteX3" fmla="*/ 1 w 3360944"/>
              <a:gd name="connsiteY3" fmla="*/ 705764 h 705764"/>
              <a:gd name="connsiteX4" fmla="*/ 41647 w 3360944"/>
              <a:gd name="connsiteY4" fmla="*/ 654417 h 705764"/>
              <a:gd name="connsiteX5" fmla="*/ 132188 w 3360944"/>
              <a:gd name="connsiteY5" fmla="*/ 352883 h 705764"/>
              <a:gd name="connsiteX6" fmla="*/ 41647 w 3360944"/>
              <a:gd name="connsiteY6" fmla="*/ 51349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4" h="705764">
                <a:moveTo>
                  <a:pt x="0" y="0"/>
                </a:moveTo>
                <a:lnTo>
                  <a:pt x="3360944" y="0"/>
                </a:lnTo>
                <a:lnTo>
                  <a:pt x="3360944" y="705764"/>
                </a:lnTo>
                <a:lnTo>
                  <a:pt x="1" y="705764"/>
                </a:lnTo>
                <a:lnTo>
                  <a:pt x="41647" y="654417"/>
                </a:lnTo>
                <a:cubicBezTo>
                  <a:pt x="98810" y="568342"/>
                  <a:pt x="132188" y="464578"/>
                  <a:pt x="132188" y="352883"/>
                </a:cubicBezTo>
                <a:cubicBezTo>
                  <a:pt x="132188" y="241188"/>
                  <a:pt x="98810" y="137424"/>
                  <a:pt x="41647" y="51349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="" xmlns:a16="http://schemas.microsoft.com/office/drawing/2014/main" id="{A57EA933-7CDE-4235-9137-2A3FE5E8D9D3}"/>
              </a:ext>
            </a:extLst>
          </p:cNvPr>
          <p:cNvSpPr/>
          <p:nvPr userDrawn="1"/>
        </p:nvSpPr>
        <p:spPr>
          <a:xfrm>
            <a:off x="4944386" y="2790229"/>
            <a:ext cx="2286000" cy="2286000"/>
          </a:xfrm>
          <a:prstGeom prst="ellipse">
            <a:avLst/>
          </a:prstGeom>
          <a:solidFill>
            <a:schemeClr val="tx2">
              <a:lumMod val="75000"/>
              <a:alpha val="9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="" xmlns:a16="http://schemas.microsoft.com/office/drawing/2014/main" id="{87BCABF8-A7DD-47E3-8DE9-2A5DF03ECF74}"/>
              </a:ext>
            </a:extLst>
          </p:cNvPr>
          <p:cNvGrpSpPr/>
          <p:nvPr userDrawn="1"/>
        </p:nvGrpSpPr>
        <p:grpSpPr>
          <a:xfrm>
            <a:off x="4488084" y="2334209"/>
            <a:ext cx="3206404" cy="3198040"/>
            <a:chOff x="4283651" y="1987454"/>
            <a:chExt cx="3615269" cy="3605839"/>
          </a:xfrm>
        </p:grpSpPr>
        <p:sp>
          <p:nvSpPr>
            <p:cNvPr id="64" name="Arc 63">
              <a:extLst>
                <a:ext uri="{FF2B5EF4-FFF2-40B4-BE49-F238E27FC236}">
                  <a16:creationId xmlns="" xmlns:a16="http://schemas.microsoft.com/office/drawing/2014/main" id="{D5D1CF31-4151-4F39-A971-933E92EEE5D0}"/>
                </a:ext>
              </a:extLst>
            </p:cNvPr>
            <p:cNvSpPr/>
            <p:nvPr/>
          </p:nvSpPr>
          <p:spPr bwMode="auto">
            <a:xfrm>
              <a:off x="4283651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="" xmlns:a16="http://schemas.microsoft.com/office/drawing/2014/main" id="{3FAB8C38-CD9D-48C9-A605-81A0F87D741F}"/>
                </a:ext>
              </a:extLst>
            </p:cNvPr>
            <p:cNvSpPr/>
            <p:nvPr/>
          </p:nvSpPr>
          <p:spPr bwMode="auto">
            <a:xfrm rot="36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6" name="Arc 65">
              <a:extLst>
                <a:ext uri="{FF2B5EF4-FFF2-40B4-BE49-F238E27FC236}">
                  <a16:creationId xmlns="" xmlns:a16="http://schemas.microsoft.com/office/drawing/2014/main" id="{69955EE1-83B9-4DD8-B9B3-264C8BD0CE59}"/>
                </a:ext>
              </a:extLst>
            </p:cNvPr>
            <p:cNvSpPr/>
            <p:nvPr/>
          </p:nvSpPr>
          <p:spPr bwMode="auto">
            <a:xfrm rot="72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7" name="Arc 66">
              <a:extLst>
                <a:ext uri="{FF2B5EF4-FFF2-40B4-BE49-F238E27FC236}">
                  <a16:creationId xmlns="" xmlns:a16="http://schemas.microsoft.com/office/drawing/2014/main" id="{29FF92D4-0791-4E90-83E3-C3162B6CB364}"/>
                </a:ext>
              </a:extLst>
            </p:cNvPr>
            <p:cNvSpPr/>
            <p:nvPr/>
          </p:nvSpPr>
          <p:spPr bwMode="auto">
            <a:xfrm rot="108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8" name="Arc 67">
              <a:extLst>
                <a:ext uri="{FF2B5EF4-FFF2-40B4-BE49-F238E27FC236}">
                  <a16:creationId xmlns="" xmlns:a16="http://schemas.microsoft.com/office/drawing/2014/main" id="{5DEAB797-8470-443C-9B06-544F8E9A3811}"/>
                </a:ext>
              </a:extLst>
            </p:cNvPr>
            <p:cNvSpPr/>
            <p:nvPr/>
          </p:nvSpPr>
          <p:spPr bwMode="auto">
            <a:xfrm rot="144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9" name="Arc 68">
              <a:extLst>
                <a:ext uri="{FF2B5EF4-FFF2-40B4-BE49-F238E27FC236}">
                  <a16:creationId xmlns="" xmlns:a16="http://schemas.microsoft.com/office/drawing/2014/main" id="{F1521EA6-90D8-4385-8E6F-1F9C1C163CF3}"/>
                </a:ext>
              </a:extLst>
            </p:cNvPr>
            <p:cNvSpPr/>
            <p:nvPr/>
          </p:nvSpPr>
          <p:spPr bwMode="auto">
            <a:xfrm rot="180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</p:grpSp>
      <p:sp>
        <p:nvSpPr>
          <p:cNvPr id="113" name="Text Placeholder 73">
            <a:extLst>
              <a:ext uri="{FF2B5EF4-FFF2-40B4-BE49-F238E27FC236}">
                <a16:creationId xmlns="" xmlns:a16="http://schemas.microsoft.com/office/drawing/2014/main" id="{69122990-F317-4471-8D0A-DAD931C0C8F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8218958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4" name="Text Placeholder 73">
            <a:extLst>
              <a:ext uri="{FF2B5EF4-FFF2-40B4-BE49-F238E27FC236}">
                <a16:creationId xmlns="" xmlns:a16="http://schemas.microsoft.com/office/drawing/2014/main" id="{D7498D2B-6A15-4E80-B31C-AE32A16E3049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92282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1</a:t>
            </a:r>
          </a:p>
        </p:txBody>
      </p:sp>
      <p:sp>
        <p:nvSpPr>
          <p:cNvPr id="115" name="Text Placeholder 73">
            <a:extLst>
              <a:ext uri="{FF2B5EF4-FFF2-40B4-BE49-F238E27FC236}">
                <a16:creationId xmlns="" xmlns:a16="http://schemas.microsoft.com/office/drawing/2014/main" id="{7B62703E-5677-486F-87B4-B001F7114A77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218958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6" name="Text Placeholder 73">
            <a:extLst>
              <a:ext uri="{FF2B5EF4-FFF2-40B4-BE49-F238E27FC236}">
                <a16:creationId xmlns="" xmlns:a16="http://schemas.microsoft.com/office/drawing/2014/main" id="{CE4FAFE9-DA16-4DF4-BC63-C9A89CAEEF5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692282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3</a:t>
            </a:r>
          </a:p>
        </p:txBody>
      </p:sp>
      <p:sp>
        <p:nvSpPr>
          <p:cNvPr id="117" name="Text Placeholder 73">
            <a:extLst>
              <a:ext uri="{FF2B5EF4-FFF2-40B4-BE49-F238E27FC236}">
                <a16:creationId xmlns="" xmlns:a16="http://schemas.microsoft.com/office/drawing/2014/main" id="{6A6BA5AC-4CDD-4F43-BCFD-01A992BA987A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089892" y="3738321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="" xmlns:a16="http://schemas.microsoft.com/office/drawing/2014/main" id="{C8D0EA2B-4324-4CB4-9DC2-53ABBE063FC1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563216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2</a:t>
            </a:r>
          </a:p>
        </p:txBody>
      </p:sp>
      <p:sp>
        <p:nvSpPr>
          <p:cNvPr id="121" name="Text Placeholder 73">
            <a:extLst>
              <a:ext uri="{FF2B5EF4-FFF2-40B4-BE49-F238E27FC236}">
                <a16:creationId xmlns="" xmlns:a16="http://schemas.microsoft.com/office/drawing/2014/main" id="{B049CDD1-E8EC-4C28-9580-DCA79E9D62B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462839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2" name="Text Placeholder 73">
            <a:extLst>
              <a:ext uri="{FF2B5EF4-FFF2-40B4-BE49-F238E27FC236}">
                <a16:creationId xmlns="" xmlns:a16="http://schemas.microsoft.com/office/drawing/2014/main" id="{5006FA14-500F-458C-A7C4-6CE414ABB45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79056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6</a:t>
            </a:r>
          </a:p>
        </p:txBody>
      </p:sp>
      <p:sp>
        <p:nvSpPr>
          <p:cNvPr id="123" name="Text Placeholder 73">
            <a:extLst>
              <a:ext uri="{FF2B5EF4-FFF2-40B4-BE49-F238E27FC236}">
                <a16:creationId xmlns="" xmlns:a16="http://schemas.microsoft.com/office/drawing/2014/main" id="{CA06EC99-E41D-4DBD-A64F-C639B3E43E7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462839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4" name="Text Placeholder 73">
            <a:extLst>
              <a:ext uri="{FF2B5EF4-FFF2-40B4-BE49-F238E27FC236}">
                <a16:creationId xmlns="" xmlns:a16="http://schemas.microsoft.com/office/drawing/2014/main" id="{6AE7A230-9049-4850-80BE-E2342BA1E572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079056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dirty="0" smtClean="0"/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lvl="0" indent="-269875" algn="r"/>
            <a:r>
              <a:rPr lang="en-US" dirty="0"/>
              <a:t>04</a:t>
            </a:r>
          </a:p>
        </p:txBody>
      </p:sp>
      <p:sp>
        <p:nvSpPr>
          <p:cNvPr id="125" name="Text Placeholder 73">
            <a:extLst>
              <a:ext uri="{FF2B5EF4-FFF2-40B4-BE49-F238E27FC236}">
                <a16:creationId xmlns="" xmlns:a16="http://schemas.microsoft.com/office/drawing/2014/main" id="{2D87960F-ECE4-46B4-B168-E301EB696388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592969" y="3738321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6" name="Text Placeholder 73">
            <a:extLst>
              <a:ext uri="{FF2B5EF4-FFF2-40B4-BE49-F238E27FC236}">
                <a16:creationId xmlns="" xmlns:a16="http://schemas.microsoft.com/office/drawing/2014/main" id="{46632857-020C-417B-BE2F-B68DFFF6202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219557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B110DF2-1465-4105-91D5-7711F33275C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5413492" y="3394273"/>
            <a:ext cx="1347788" cy="1077913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FA3F3059-D19B-4B3A-A69E-5F75F70BCCEC}"/>
              </a:ext>
            </a:extLst>
          </p:cNvPr>
          <p:cNvGrpSpPr/>
          <p:nvPr userDrawn="1"/>
        </p:nvGrpSpPr>
        <p:grpSpPr>
          <a:xfrm>
            <a:off x="4872338" y="2069125"/>
            <a:ext cx="698400" cy="698400"/>
            <a:chOff x="4872338" y="2069125"/>
            <a:chExt cx="698400" cy="698400"/>
          </a:xfrm>
        </p:grpSpPr>
        <p:sp>
          <p:nvSpPr>
            <p:cNvPr id="76" name="Oval 75">
              <a:extLst>
                <a:ext uri="{FF2B5EF4-FFF2-40B4-BE49-F238E27FC236}">
                  <a16:creationId xmlns="" xmlns:a16="http://schemas.microsoft.com/office/drawing/2014/main" id="{C7FDF4BB-EE96-4AED-A45D-EF9FB0D6CF51}"/>
                </a:ext>
              </a:extLst>
            </p:cNvPr>
            <p:cNvSpPr/>
            <p:nvPr userDrawn="1"/>
          </p:nvSpPr>
          <p:spPr>
            <a:xfrm>
              <a:off x="4872338" y="2069125"/>
              <a:ext cx="698400" cy="6984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0" name="Graphic 69">
              <a:extLst>
                <a:ext uri="{FF2B5EF4-FFF2-40B4-BE49-F238E27FC236}">
                  <a16:creationId xmlns="" xmlns:a16="http://schemas.microsoft.com/office/drawing/2014/main" id="{D4F39E00-0BA9-428E-A560-ADE62E6A09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029597" y="2226385"/>
              <a:ext cx="383882" cy="38388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0DAE5720-09D7-4154-8E4F-7DDE20D4AFCB}"/>
              </a:ext>
            </a:extLst>
          </p:cNvPr>
          <p:cNvGrpSpPr/>
          <p:nvPr userDrawn="1"/>
        </p:nvGrpSpPr>
        <p:grpSpPr>
          <a:xfrm>
            <a:off x="4007754" y="3583803"/>
            <a:ext cx="698400" cy="698400"/>
            <a:chOff x="4007754" y="3583803"/>
            <a:chExt cx="698400" cy="6984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59E98775-7C31-420D-B891-5E18368B448C}"/>
                </a:ext>
              </a:extLst>
            </p:cNvPr>
            <p:cNvSpPr/>
            <p:nvPr userDrawn="1"/>
          </p:nvSpPr>
          <p:spPr>
            <a:xfrm>
              <a:off x="4007754" y="3583803"/>
              <a:ext cx="698400" cy="698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1" name="Graphic 70">
              <a:extLst>
                <a:ext uri="{FF2B5EF4-FFF2-40B4-BE49-F238E27FC236}">
                  <a16:creationId xmlns="" xmlns:a16="http://schemas.microsoft.com/office/drawing/2014/main" id="{3D18EEDA-8B25-407D-AC9E-20EA443E3E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208936" y="3736653"/>
              <a:ext cx="296036" cy="3927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02900D39-AA76-4925-B4A0-0361428EBD28}"/>
              </a:ext>
            </a:extLst>
          </p:cNvPr>
          <p:cNvGrpSpPr/>
          <p:nvPr userDrawn="1"/>
        </p:nvGrpSpPr>
        <p:grpSpPr>
          <a:xfrm>
            <a:off x="4872338" y="5100198"/>
            <a:ext cx="698400" cy="698400"/>
            <a:chOff x="4872338" y="5100198"/>
            <a:chExt cx="698400" cy="698400"/>
          </a:xfrm>
        </p:grpSpPr>
        <p:sp>
          <p:nvSpPr>
            <p:cNvPr id="78" name="Oval 77">
              <a:extLst>
                <a:ext uri="{FF2B5EF4-FFF2-40B4-BE49-F238E27FC236}">
                  <a16:creationId xmlns="" xmlns:a16="http://schemas.microsoft.com/office/drawing/2014/main" id="{F085E78C-232B-45BA-902E-BC99D8FF8B2C}"/>
                </a:ext>
              </a:extLst>
            </p:cNvPr>
            <p:cNvSpPr/>
            <p:nvPr userDrawn="1"/>
          </p:nvSpPr>
          <p:spPr>
            <a:xfrm>
              <a:off x="4872338" y="5100198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2" name="Graphic 71">
              <a:extLst>
                <a:ext uri="{FF2B5EF4-FFF2-40B4-BE49-F238E27FC236}">
                  <a16:creationId xmlns="" xmlns:a16="http://schemas.microsoft.com/office/drawing/2014/main" id="{731CE184-3282-4984-AC7C-D7BC1B4750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057574" y="5241602"/>
              <a:ext cx="327929" cy="415593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A9F52333-EA12-4AE1-81E3-E6B6D3331480}"/>
              </a:ext>
            </a:extLst>
          </p:cNvPr>
          <p:cNvGrpSpPr/>
          <p:nvPr userDrawn="1"/>
        </p:nvGrpSpPr>
        <p:grpSpPr>
          <a:xfrm>
            <a:off x="6613914" y="5100198"/>
            <a:ext cx="698400" cy="698400"/>
            <a:chOff x="6613914" y="5100198"/>
            <a:chExt cx="698400" cy="698400"/>
          </a:xfrm>
        </p:grpSpPr>
        <p:sp>
          <p:nvSpPr>
            <p:cNvPr id="79" name="Oval 78">
              <a:extLst>
                <a:ext uri="{FF2B5EF4-FFF2-40B4-BE49-F238E27FC236}">
                  <a16:creationId xmlns="" xmlns:a16="http://schemas.microsoft.com/office/drawing/2014/main" id="{F0565F76-B35D-4552-8B6F-F971A3E108EF}"/>
                </a:ext>
              </a:extLst>
            </p:cNvPr>
            <p:cNvSpPr/>
            <p:nvPr userDrawn="1"/>
          </p:nvSpPr>
          <p:spPr>
            <a:xfrm>
              <a:off x="6613914" y="5100198"/>
              <a:ext cx="698400" cy="698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3" name="Graphic 72">
              <a:extLst>
                <a:ext uri="{FF2B5EF4-FFF2-40B4-BE49-F238E27FC236}">
                  <a16:creationId xmlns="" xmlns:a16="http://schemas.microsoft.com/office/drawing/2014/main" id="{1FEFED35-933C-4473-A477-179A938C50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795857" y="5282141"/>
              <a:ext cx="334514" cy="33451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9EFEBB1E-0C1F-43CB-8389-D8DCBA944629}"/>
              </a:ext>
            </a:extLst>
          </p:cNvPr>
          <p:cNvGrpSpPr/>
          <p:nvPr userDrawn="1"/>
        </p:nvGrpSpPr>
        <p:grpSpPr>
          <a:xfrm>
            <a:off x="7465193" y="3583803"/>
            <a:ext cx="698400" cy="698400"/>
            <a:chOff x="7465193" y="3583803"/>
            <a:chExt cx="698400" cy="698400"/>
          </a:xfrm>
        </p:grpSpPr>
        <p:sp>
          <p:nvSpPr>
            <p:cNvPr id="80" name="Oval 79">
              <a:extLst>
                <a:ext uri="{FF2B5EF4-FFF2-40B4-BE49-F238E27FC236}">
                  <a16:creationId xmlns="" xmlns:a16="http://schemas.microsoft.com/office/drawing/2014/main" id="{A84796AC-A10B-47EE-AD5E-8EA7B77310A7}"/>
                </a:ext>
              </a:extLst>
            </p:cNvPr>
            <p:cNvSpPr/>
            <p:nvPr userDrawn="1"/>
          </p:nvSpPr>
          <p:spPr>
            <a:xfrm>
              <a:off x="7465193" y="3583803"/>
              <a:ext cx="698400" cy="6984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4" name="Graphic 73">
              <a:extLst>
                <a:ext uri="{FF2B5EF4-FFF2-40B4-BE49-F238E27FC236}">
                  <a16:creationId xmlns="" xmlns:a16="http://schemas.microsoft.com/office/drawing/2014/main" id="{4828F8B4-2720-4F9A-9BE2-41F6B50927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650521" y="3733235"/>
              <a:ext cx="327745" cy="399537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9F9FF6B4-DE68-48D6-9806-3AF3FCB6575F}"/>
              </a:ext>
            </a:extLst>
          </p:cNvPr>
          <p:cNvGrpSpPr/>
          <p:nvPr userDrawn="1"/>
        </p:nvGrpSpPr>
        <p:grpSpPr>
          <a:xfrm>
            <a:off x="6614439" y="2068335"/>
            <a:ext cx="698400" cy="698400"/>
            <a:chOff x="6614439" y="2068335"/>
            <a:chExt cx="698400" cy="698400"/>
          </a:xfrm>
        </p:grpSpPr>
        <p:sp>
          <p:nvSpPr>
            <p:cNvPr id="81" name="Oval 80">
              <a:extLst>
                <a:ext uri="{FF2B5EF4-FFF2-40B4-BE49-F238E27FC236}">
                  <a16:creationId xmlns="" xmlns:a16="http://schemas.microsoft.com/office/drawing/2014/main" id="{1B8CAC94-A544-44F8-B4AB-AD135AD97265}"/>
                </a:ext>
              </a:extLst>
            </p:cNvPr>
            <p:cNvSpPr/>
            <p:nvPr userDrawn="1"/>
          </p:nvSpPr>
          <p:spPr>
            <a:xfrm>
              <a:off x="6614439" y="2068335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5" name="Graphic 74">
              <a:extLst>
                <a:ext uri="{FF2B5EF4-FFF2-40B4-BE49-F238E27FC236}">
                  <a16:creationId xmlns="" xmlns:a16="http://schemas.microsoft.com/office/drawing/2014/main" id="{BF2D3261-A9BE-4487-B3FF-CD4A6F2CC3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775751" y="2229647"/>
              <a:ext cx="375776" cy="375776"/>
            </a:xfrm>
            <a:prstGeom prst="rect">
              <a:avLst/>
            </a:prstGeom>
          </p:spPr>
        </p:pic>
      </p:grpSp>
      <p:sp>
        <p:nvSpPr>
          <p:cNvPr id="82" name="Slide Number Placeholder 5">
            <a:extLst>
              <a:ext uri="{FF2B5EF4-FFF2-40B4-BE49-F238E27FC236}">
                <a16:creationId xmlns="" xmlns:a16="http://schemas.microsoft.com/office/drawing/2014/main" id="{F3D3E8CF-D792-C96B-BDEB-9AA868286AE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566750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="" xmlns:a16="http://schemas.microsoft.com/office/drawing/2014/main" id="{E3977B3D-112D-46BD-AA99-CF17D6D0DC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157995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36000">
                <a:schemeClr val="tx2"/>
              </a:gs>
              <a:gs pos="0">
                <a:schemeClr val="tx2">
                  <a:alpha val="60000"/>
                </a:schemeClr>
              </a:gs>
            </a:gsLst>
            <a:lin ang="5400000" scaled="0"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8000"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9" y="0"/>
            <a:ext cx="12191322" cy="6857999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24" name="Rectangle 223">
            <a:extLst>
              <a:ext uri="{FF2B5EF4-FFF2-40B4-BE49-F238E27FC236}">
                <a16:creationId xmlns="" xmlns:a16="http://schemas.microsoft.com/office/drawing/2014/main" id="{4465C87A-6365-4D74-AA4C-D844513A88AC}"/>
              </a:ext>
            </a:extLst>
          </p:cNvPr>
          <p:cNvSpPr/>
          <p:nvPr userDrawn="1"/>
        </p:nvSpPr>
        <p:spPr>
          <a:xfrm flipH="1">
            <a:off x="587373" y="1743457"/>
            <a:ext cx="5792118" cy="4143716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60000"/>
                  <a:lumOff val="40000"/>
                  <a:alpha val="57000"/>
                </a:schemeClr>
              </a:gs>
              <a:gs pos="0">
                <a:schemeClr val="tx2">
                  <a:lumMod val="7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1B4BA8EA-F8FF-4AD7-9402-C3BFF5AA2FDE}"/>
              </a:ext>
            </a:extLst>
          </p:cNvPr>
          <p:cNvSpPr/>
          <p:nvPr/>
        </p:nvSpPr>
        <p:spPr>
          <a:xfrm>
            <a:off x="6508945" y="2367060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96" name="Text Placeholder 73">
            <a:extLst>
              <a:ext uri="{FF2B5EF4-FFF2-40B4-BE49-F238E27FC236}">
                <a16:creationId xmlns="" xmlns:a16="http://schemas.microsoft.com/office/drawing/2014/main" id="{114A4B7B-7DD0-4367-AE68-1AC90EE338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4161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="" xmlns:a16="http://schemas.microsoft.com/office/drawing/2014/main" id="{1D0943E3-37F3-4E66-9B91-BCCA62A5D01D}"/>
              </a:ext>
            </a:extLst>
          </p:cNvPr>
          <p:cNvSpPr/>
          <p:nvPr userDrawn="1"/>
        </p:nvSpPr>
        <p:spPr>
          <a:xfrm>
            <a:off x="9181546" y="2367060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05" name="Text Placeholder 73">
            <a:extLst>
              <a:ext uri="{FF2B5EF4-FFF2-40B4-BE49-F238E27FC236}">
                <a16:creationId xmlns="" xmlns:a16="http://schemas.microsoft.com/office/drawing/2014/main" id="{EBFB0AA9-36B3-44D0-BB7C-FDA0F18E10F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56762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="" xmlns:a16="http://schemas.microsoft.com/office/drawing/2014/main" id="{ABB17EC8-0EF5-4BFC-B325-D744B25E836C}"/>
              </a:ext>
            </a:extLst>
          </p:cNvPr>
          <p:cNvSpPr/>
          <p:nvPr userDrawn="1"/>
        </p:nvSpPr>
        <p:spPr>
          <a:xfrm>
            <a:off x="6508945" y="4342517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17" name="Text Placeholder 73">
            <a:extLst>
              <a:ext uri="{FF2B5EF4-FFF2-40B4-BE49-F238E27FC236}">
                <a16:creationId xmlns="" xmlns:a16="http://schemas.microsoft.com/office/drawing/2014/main" id="{D8BF328F-AEDF-4D29-A752-14A43054A5F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684161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="" xmlns:a16="http://schemas.microsoft.com/office/drawing/2014/main" id="{2235885C-CCD6-434D-A8BB-CEDAF98376D2}"/>
              </a:ext>
            </a:extLst>
          </p:cNvPr>
          <p:cNvSpPr/>
          <p:nvPr userDrawn="1"/>
        </p:nvSpPr>
        <p:spPr>
          <a:xfrm>
            <a:off x="9181546" y="4342517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21" name="Text Placeholder 73">
            <a:extLst>
              <a:ext uri="{FF2B5EF4-FFF2-40B4-BE49-F238E27FC236}">
                <a16:creationId xmlns="" xmlns:a16="http://schemas.microsoft.com/office/drawing/2014/main" id="{E1FC67E4-703C-466B-83B3-2D0C5003510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56762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6B5AF772-25F8-4438-B723-2C7568985E18}"/>
              </a:ext>
            </a:extLst>
          </p:cNvPr>
          <p:cNvSpPr/>
          <p:nvPr/>
        </p:nvSpPr>
        <p:spPr>
          <a:xfrm>
            <a:off x="7285687" y="1923999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63E155FA-6D3F-4EE3-8853-C8A177632B95}"/>
              </a:ext>
            </a:extLst>
          </p:cNvPr>
          <p:cNvGrpSpPr/>
          <p:nvPr userDrawn="1"/>
        </p:nvGrpSpPr>
        <p:grpSpPr>
          <a:xfrm>
            <a:off x="7415141" y="2054126"/>
            <a:ext cx="604800" cy="604800"/>
            <a:chOff x="7415141" y="2054126"/>
            <a:chExt cx="604800" cy="604800"/>
          </a:xfrm>
        </p:grpSpPr>
        <p:sp>
          <p:nvSpPr>
            <p:cNvPr id="71" name="Oval 70">
              <a:extLst>
                <a:ext uri="{FF2B5EF4-FFF2-40B4-BE49-F238E27FC236}">
                  <a16:creationId xmlns="" xmlns:a16="http://schemas.microsoft.com/office/drawing/2014/main" id="{A3ADCF02-A425-424A-96C8-810F353B2DB9}"/>
                </a:ext>
              </a:extLst>
            </p:cNvPr>
            <p:cNvSpPr/>
            <p:nvPr userDrawn="1"/>
          </p:nvSpPr>
          <p:spPr>
            <a:xfrm>
              <a:off x="7415141" y="2054126"/>
              <a:ext cx="604800" cy="6048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Freeform 85">
              <a:extLst>
                <a:ext uri="{FF2B5EF4-FFF2-40B4-BE49-F238E27FC236}">
                  <a16:creationId xmlns="" xmlns:a16="http://schemas.microsoft.com/office/drawing/2014/main" id="{24250348-1855-4089-A7BE-2048FCE888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0128" y="2265078"/>
              <a:ext cx="315118" cy="184630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03" name="Oval 202">
            <a:extLst>
              <a:ext uri="{FF2B5EF4-FFF2-40B4-BE49-F238E27FC236}">
                <a16:creationId xmlns="" xmlns:a16="http://schemas.microsoft.com/office/drawing/2014/main" id="{73F53C4B-01A2-466B-847E-9F7EDBA90526}"/>
              </a:ext>
            </a:extLst>
          </p:cNvPr>
          <p:cNvSpPr/>
          <p:nvPr userDrawn="1"/>
        </p:nvSpPr>
        <p:spPr>
          <a:xfrm>
            <a:off x="9958288" y="1923999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4DD4888C-CC58-4F2B-A88B-F447C4031D0F}"/>
              </a:ext>
            </a:extLst>
          </p:cNvPr>
          <p:cNvGrpSpPr/>
          <p:nvPr userDrawn="1"/>
        </p:nvGrpSpPr>
        <p:grpSpPr>
          <a:xfrm>
            <a:off x="10088034" y="2054126"/>
            <a:ext cx="604800" cy="604800"/>
            <a:chOff x="10088034" y="2054126"/>
            <a:chExt cx="604800" cy="604800"/>
          </a:xfrm>
        </p:grpSpPr>
        <p:sp>
          <p:nvSpPr>
            <p:cNvPr id="72" name="Oval 71">
              <a:extLst>
                <a:ext uri="{FF2B5EF4-FFF2-40B4-BE49-F238E27FC236}">
                  <a16:creationId xmlns="" xmlns:a16="http://schemas.microsoft.com/office/drawing/2014/main" id="{CDEBDB13-F5B4-45A4-8EA9-0ECFC5EC3D3D}"/>
                </a:ext>
              </a:extLst>
            </p:cNvPr>
            <p:cNvSpPr/>
            <p:nvPr userDrawn="1"/>
          </p:nvSpPr>
          <p:spPr>
            <a:xfrm>
              <a:off x="10088034" y="2054126"/>
              <a:ext cx="604800" cy="604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Freeform 52">
              <a:extLst>
                <a:ext uri="{FF2B5EF4-FFF2-40B4-BE49-F238E27FC236}">
                  <a16:creationId xmlns="" xmlns:a16="http://schemas.microsoft.com/office/drawing/2014/main" id="{B0ECD42A-C020-482A-ACCB-F31B32AA0C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1392" y="2247170"/>
              <a:ext cx="275116" cy="171630"/>
            </a:xfrm>
            <a:custGeom>
              <a:avLst/>
              <a:gdLst>
                <a:gd name="T0" fmla="*/ 71 w 92"/>
                <a:gd name="T1" fmla="*/ 15 h 57"/>
                <a:gd name="T2" fmla="*/ 46 w 92"/>
                <a:gd name="T3" fmla="*/ 0 h 57"/>
                <a:gd name="T4" fmla="*/ 18 w 92"/>
                <a:gd name="T5" fmla="*/ 25 h 57"/>
                <a:gd name="T6" fmla="*/ 0 w 92"/>
                <a:gd name="T7" fmla="*/ 41 h 57"/>
                <a:gd name="T8" fmla="*/ 8 w 92"/>
                <a:gd name="T9" fmla="*/ 55 h 57"/>
                <a:gd name="T10" fmla="*/ 17 w 92"/>
                <a:gd name="T11" fmla="*/ 57 h 57"/>
                <a:gd name="T12" fmla="*/ 20 w 92"/>
                <a:gd name="T13" fmla="*/ 57 h 57"/>
                <a:gd name="T14" fmla="*/ 20 w 92"/>
                <a:gd name="T15" fmla="*/ 42 h 57"/>
                <a:gd name="T16" fmla="*/ 23 w 92"/>
                <a:gd name="T17" fmla="*/ 37 h 57"/>
                <a:gd name="T18" fmla="*/ 29 w 92"/>
                <a:gd name="T19" fmla="*/ 37 h 57"/>
                <a:gd name="T20" fmla="*/ 34 w 92"/>
                <a:gd name="T21" fmla="*/ 39 h 57"/>
                <a:gd name="T22" fmla="*/ 37 w 92"/>
                <a:gd name="T23" fmla="*/ 37 h 57"/>
                <a:gd name="T24" fmla="*/ 47 w 92"/>
                <a:gd name="T25" fmla="*/ 37 h 57"/>
                <a:gd name="T26" fmla="*/ 50 w 92"/>
                <a:gd name="T27" fmla="*/ 39 h 57"/>
                <a:gd name="T28" fmla="*/ 55 w 92"/>
                <a:gd name="T29" fmla="*/ 37 h 57"/>
                <a:gd name="T30" fmla="*/ 61 w 92"/>
                <a:gd name="T31" fmla="*/ 37 h 57"/>
                <a:gd name="T32" fmla="*/ 64 w 92"/>
                <a:gd name="T33" fmla="*/ 42 h 57"/>
                <a:gd name="T34" fmla="*/ 64 w 92"/>
                <a:gd name="T35" fmla="*/ 57 h 57"/>
                <a:gd name="T36" fmla="*/ 73 w 92"/>
                <a:gd name="T37" fmla="*/ 57 h 57"/>
                <a:gd name="T38" fmla="*/ 92 w 92"/>
                <a:gd name="T39" fmla="*/ 36 h 57"/>
                <a:gd name="T40" fmla="*/ 71 w 92"/>
                <a:gd name="T41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2" h="57">
                  <a:moveTo>
                    <a:pt x="71" y="15"/>
                  </a:moveTo>
                  <a:cubicBezTo>
                    <a:pt x="66" y="6"/>
                    <a:pt x="57" y="0"/>
                    <a:pt x="46" y="0"/>
                  </a:cubicBezTo>
                  <a:cubicBezTo>
                    <a:pt x="32" y="0"/>
                    <a:pt x="19" y="11"/>
                    <a:pt x="18" y="25"/>
                  </a:cubicBezTo>
                  <a:cubicBezTo>
                    <a:pt x="8" y="24"/>
                    <a:pt x="0" y="32"/>
                    <a:pt x="0" y="41"/>
                  </a:cubicBezTo>
                  <a:cubicBezTo>
                    <a:pt x="0" y="50"/>
                    <a:pt x="5" y="54"/>
                    <a:pt x="8" y="55"/>
                  </a:cubicBezTo>
                  <a:cubicBezTo>
                    <a:pt x="12" y="57"/>
                    <a:pt x="16" y="57"/>
                    <a:pt x="17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0"/>
                    <a:pt x="21" y="38"/>
                    <a:pt x="23" y="37"/>
                  </a:cubicBezTo>
                  <a:cubicBezTo>
                    <a:pt x="25" y="36"/>
                    <a:pt x="28" y="36"/>
                    <a:pt x="29" y="37"/>
                  </a:cubicBezTo>
                  <a:cubicBezTo>
                    <a:pt x="32" y="39"/>
                    <a:pt x="33" y="39"/>
                    <a:pt x="34" y="39"/>
                  </a:cubicBezTo>
                  <a:cubicBezTo>
                    <a:pt x="35" y="39"/>
                    <a:pt x="36" y="38"/>
                    <a:pt x="37" y="37"/>
                  </a:cubicBezTo>
                  <a:cubicBezTo>
                    <a:pt x="40" y="34"/>
                    <a:pt x="44" y="34"/>
                    <a:pt x="47" y="37"/>
                  </a:cubicBezTo>
                  <a:cubicBezTo>
                    <a:pt x="48" y="38"/>
                    <a:pt x="49" y="39"/>
                    <a:pt x="50" y="39"/>
                  </a:cubicBezTo>
                  <a:cubicBezTo>
                    <a:pt x="51" y="39"/>
                    <a:pt x="52" y="39"/>
                    <a:pt x="55" y="37"/>
                  </a:cubicBezTo>
                  <a:cubicBezTo>
                    <a:pt x="56" y="36"/>
                    <a:pt x="59" y="36"/>
                    <a:pt x="61" y="37"/>
                  </a:cubicBezTo>
                  <a:cubicBezTo>
                    <a:pt x="63" y="38"/>
                    <a:pt x="64" y="40"/>
                    <a:pt x="64" y="42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92" y="55"/>
                    <a:pt x="92" y="36"/>
                  </a:cubicBezTo>
                  <a:cubicBezTo>
                    <a:pt x="92" y="25"/>
                    <a:pt x="83" y="16"/>
                    <a:pt x="71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53">
              <a:extLst>
                <a:ext uri="{FF2B5EF4-FFF2-40B4-BE49-F238E27FC236}">
                  <a16:creationId xmlns="" xmlns:a16="http://schemas.microsoft.com/office/drawing/2014/main" id="{3544D048-1BB3-41D9-A5C9-D9C4BD0DF0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03326" y="2364535"/>
              <a:ext cx="107270" cy="122413"/>
            </a:xfrm>
            <a:custGeom>
              <a:avLst/>
              <a:gdLst>
                <a:gd name="T0" fmla="*/ 35 w 36"/>
                <a:gd name="T1" fmla="*/ 1 h 41"/>
                <a:gd name="T2" fmla="*/ 33 w 36"/>
                <a:gd name="T3" fmla="*/ 1 h 41"/>
                <a:gd name="T4" fmla="*/ 26 w 36"/>
                <a:gd name="T5" fmla="*/ 4 h 41"/>
                <a:gd name="T6" fmla="*/ 20 w 36"/>
                <a:gd name="T7" fmla="*/ 1 h 41"/>
                <a:gd name="T8" fmla="*/ 16 w 36"/>
                <a:gd name="T9" fmla="*/ 1 h 41"/>
                <a:gd name="T10" fmla="*/ 10 w 36"/>
                <a:gd name="T11" fmla="*/ 4 h 41"/>
                <a:gd name="T12" fmla="*/ 3 w 36"/>
                <a:gd name="T13" fmla="*/ 1 h 41"/>
                <a:gd name="T14" fmla="*/ 1 w 36"/>
                <a:gd name="T15" fmla="*/ 1 h 41"/>
                <a:gd name="T16" fmla="*/ 0 w 36"/>
                <a:gd name="T17" fmla="*/ 3 h 41"/>
                <a:gd name="T18" fmla="*/ 0 w 36"/>
                <a:gd name="T19" fmla="*/ 27 h 41"/>
                <a:gd name="T20" fmla="*/ 0 w 36"/>
                <a:gd name="T21" fmla="*/ 27 h 41"/>
                <a:gd name="T22" fmla="*/ 17 w 36"/>
                <a:gd name="T23" fmla="*/ 41 h 41"/>
                <a:gd name="T24" fmla="*/ 18 w 36"/>
                <a:gd name="T25" fmla="*/ 41 h 41"/>
                <a:gd name="T26" fmla="*/ 19 w 36"/>
                <a:gd name="T27" fmla="*/ 41 h 41"/>
                <a:gd name="T28" fmla="*/ 36 w 36"/>
                <a:gd name="T29" fmla="*/ 27 h 41"/>
                <a:gd name="T30" fmla="*/ 36 w 36"/>
                <a:gd name="T31" fmla="*/ 27 h 41"/>
                <a:gd name="T32" fmla="*/ 36 w 36"/>
                <a:gd name="T33" fmla="*/ 3 h 41"/>
                <a:gd name="T34" fmla="*/ 35 w 36"/>
                <a:gd name="T35" fmla="*/ 1 h 41"/>
                <a:gd name="T36" fmla="*/ 26 w 36"/>
                <a:gd name="T37" fmla="*/ 21 h 41"/>
                <a:gd name="T38" fmla="*/ 20 w 36"/>
                <a:gd name="T39" fmla="*/ 21 h 41"/>
                <a:gd name="T40" fmla="*/ 20 w 36"/>
                <a:gd name="T41" fmla="*/ 27 h 41"/>
                <a:gd name="T42" fmla="*/ 18 w 36"/>
                <a:gd name="T43" fmla="*/ 29 h 41"/>
                <a:gd name="T44" fmla="*/ 16 w 36"/>
                <a:gd name="T45" fmla="*/ 27 h 41"/>
                <a:gd name="T46" fmla="*/ 16 w 36"/>
                <a:gd name="T47" fmla="*/ 21 h 41"/>
                <a:gd name="T48" fmla="*/ 10 w 36"/>
                <a:gd name="T49" fmla="*/ 21 h 41"/>
                <a:gd name="T50" fmla="*/ 8 w 36"/>
                <a:gd name="T51" fmla="*/ 19 h 41"/>
                <a:gd name="T52" fmla="*/ 10 w 36"/>
                <a:gd name="T53" fmla="*/ 17 h 41"/>
                <a:gd name="T54" fmla="*/ 16 w 36"/>
                <a:gd name="T55" fmla="*/ 17 h 41"/>
                <a:gd name="T56" fmla="*/ 16 w 36"/>
                <a:gd name="T57" fmla="*/ 11 h 41"/>
                <a:gd name="T58" fmla="*/ 18 w 36"/>
                <a:gd name="T59" fmla="*/ 9 h 41"/>
                <a:gd name="T60" fmla="*/ 20 w 36"/>
                <a:gd name="T61" fmla="*/ 11 h 41"/>
                <a:gd name="T62" fmla="*/ 20 w 36"/>
                <a:gd name="T63" fmla="*/ 17 h 41"/>
                <a:gd name="T64" fmla="*/ 26 w 36"/>
                <a:gd name="T65" fmla="*/ 17 h 41"/>
                <a:gd name="T66" fmla="*/ 28 w 36"/>
                <a:gd name="T67" fmla="*/ 19 h 41"/>
                <a:gd name="T68" fmla="*/ 26 w 36"/>
                <a:gd name="T69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1">
                  <a:moveTo>
                    <a:pt x="35" y="1"/>
                  </a:moveTo>
                  <a:cubicBezTo>
                    <a:pt x="34" y="1"/>
                    <a:pt x="33" y="1"/>
                    <a:pt x="33" y="1"/>
                  </a:cubicBezTo>
                  <a:cubicBezTo>
                    <a:pt x="30" y="3"/>
                    <a:pt x="28" y="4"/>
                    <a:pt x="26" y="4"/>
                  </a:cubicBezTo>
                  <a:cubicBezTo>
                    <a:pt x="23" y="4"/>
                    <a:pt x="21" y="3"/>
                    <a:pt x="20" y="1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5" y="3"/>
                    <a:pt x="13" y="4"/>
                    <a:pt x="10" y="4"/>
                  </a:cubicBezTo>
                  <a:cubicBezTo>
                    <a:pt x="8" y="4"/>
                    <a:pt x="6" y="3"/>
                    <a:pt x="3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3" y="37"/>
                    <a:pt x="17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8" y="41"/>
                    <a:pt x="19" y="41"/>
                  </a:cubicBezTo>
                  <a:cubicBezTo>
                    <a:pt x="33" y="37"/>
                    <a:pt x="36" y="28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6" y="1"/>
                    <a:pt x="35" y="1"/>
                  </a:cubicBezTo>
                  <a:close/>
                  <a:moveTo>
                    <a:pt x="26" y="21"/>
                  </a:moveTo>
                  <a:cubicBezTo>
                    <a:pt x="20" y="21"/>
                    <a:pt x="20" y="21"/>
                    <a:pt x="20" y="21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8"/>
                    <a:pt x="19" y="29"/>
                    <a:pt x="18" y="29"/>
                  </a:cubicBezTo>
                  <a:cubicBezTo>
                    <a:pt x="17" y="29"/>
                    <a:pt x="16" y="28"/>
                    <a:pt x="16" y="27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9" y="21"/>
                    <a:pt x="8" y="20"/>
                    <a:pt x="8" y="19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7" y="9"/>
                    <a:pt x="18" y="9"/>
                  </a:cubicBezTo>
                  <a:cubicBezTo>
                    <a:pt x="19" y="9"/>
                    <a:pt x="20" y="10"/>
                    <a:pt x="20" y="11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7"/>
                    <a:pt x="28" y="18"/>
                    <a:pt x="28" y="19"/>
                  </a:cubicBezTo>
                  <a:cubicBezTo>
                    <a:pt x="28" y="20"/>
                    <a:pt x="27" y="21"/>
                    <a:pt x="26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19" name="Oval 218">
            <a:extLst>
              <a:ext uri="{FF2B5EF4-FFF2-40B4-BE49-F238E27FC236}">
                <a16:creationId xmlns="" xmlns:a16="http://schemas.microsoft.com/office/drawing/2014/main" id="{EB54C23F-4DFD-41CB-908E-DBDD05139E75}"/>
              </a:ext>
            </a:extLst>
          </p:cNvPr>
          <p:cNvSpPr/>
          <p:nvPr userDrawn="1"/>
        </p:nvSpPr>
        <p:spPr>
          <a:xfrm>
            <a:off x="9958288" y="3899456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B88280C7-97EC-4557-8043-99AC5D73C5B7}"/>
              </a:ext>
            </a:extLst>
          </p:cNvPr>
          <p:cNvGrpSpPr/>
          <p:nvPr userDrawn="1"/>
        </p:nvGrpSpPr>
        <p:grpSpPr>
          <a:xfrm>
            <a:off x="10088034" y="4029583"/>
            <a:ext cx="604800" cy="604800"/>
            <a:chOff x="10088034" y="4029583"/>
            <a:chExt cx="604800" cy="604800"/>
          </a:xfrm>
        </p:grpSpPr>
        <p:sp>
          <p:nvSpPr>
            <p:cNvPr id="74" name="Oval 73">
              <a:extLst>
                <a:ext uri="{FF2B5EF4-FFF2-40B4-BE49-F238E27FC236}">
                  <a16:creationId xmlns="" xmlns:a16="http://schemas.microsoft.com/office/drawing/2014/main" id="{9A99FB7E-9CEB-44ED-BDDE-8650C26FA751}"/>
                </a:ext>
              </a:extLst>
            </p:cNvPr>
            <p:cNvSpPr/>
            <p:nvPr userDrawn="1"/>
          </p:nvSpPr>
          <p:spPr>
            <a:xfrm>
              <a:off x="10088034" y="4029583"/>
              <a:ext cx="604800" cy="6048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Freeform 26">
              <a:extLst>
                <a:ext uri="{FF2B5EF4-FFF2-40B4-BE49-F238E27FC236}">
                  <a16:creationId xmlns="" xmlns:a16="http://schemas.microsoft.com/office/drawing/2014/main" id="{4CAC1BEE-F6FF-4C2E-827F-4AE18A552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5714" y="4291701"/>
              <a:ext cx="286472" cy="190560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2 h 64"/>
                <a:gd name="T6" fmla="*/ 90 w 96"/>
                <a:gd name="T7" fmla="*/ 0 h 64"/>
                <a:gd name="T8" fmla="*/ 78 w 96"/>
                <a:gd name="T9" fmla="*/ 0 h 64"/>
                <a:gd name="T10" fmla="*/ 76 w 96"/>
                <a:gd name="T11" fmla="*/ 2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18 h 64"/>
                <a:gd name="T18" fmla="*/ 66 w 96"/>
                <a:gd name="T19" fmla="*/ 16 h 64"/>
                <a:gd name="T20" fmla="*/ 54 w 96"/>
                <a:gd name="T21" fmla="*/ 16 h 64"/>
                <a:gd name="T22" fmla="*/ 52 w 96"/>
                <a:gd name="T23" fmla="*/ 18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34 h 64"/>
                <a:gd name="T30" fmla="*/ 42 w 96"/>
                <a:gd name="T31" fmla="*/ 32 h 64"/>
                <a:gd name="T32" fmla="*/ 30 w 96"/>
                <a:gd name="T33" fmla="*/ 32 h 64"/>
                <a:gd name="T34" fmla="*/ 28 w 96"/>
                <a:gd name="T35" fmla="*/ 34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50 h 64"/>
                <a:gd name="T42" fmla="*/ 18 w 96"/>
                <a:gd name="T43" fmla="*/ 48 h 64"/>
                <a:gd name="T44" fmla="*/ 6 w 96"/>
                <a:gd name="T45" fmla="*/ 48 h 64"/>
                <a:gd name="T46" fmla="*/ 4 w 96"/>
                <a:gd name="T47" fmla="*/ 50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6" y="1"/>
                    <a:pt x="76" y="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7"/>
                    <a:pt x="67" y="16"/>
                    <a:pt x="66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2" y="17"/>
                    <a:pt x="52" y="1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3"/>
                    <a:pt x="43" y="32"/>
                    <a:pt x="42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9" y="32"/>
                    <a:pt x="28" y="33"/>
                    <a:pt x="28" y="34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49"/>
                    <a:pt x="19" y="48"/>
                    <a:pt x="18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48"/>
                    <a:pt x="4" y="49"/>
                    <a:pt x="4" y="5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27">
              <a:extLst>
                <a:ext uri="{FF2B5EF4-FFF2-40B4-BE49-F238E27FC236}">
                  <a16:creationId xmlns="" xmlns:a16="http://schemas.microsoft.com/office/drawing/2014/main" id="{45945658-86E0-447B-80C7-1FD3737910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56002" y="4202101"/>
              <a:ext cx="227158" cy="161534"/>
            </a:xfrm>
            <a:custGeom>
              <a:avLst/>
              <a:gdLst>
                <a:gd name="T0" fmla="*/ 2 w 76"/>
                <a:gd name="T1" fmla="*/ 54 h 54"/>
                <a:gd name="T2" fmla="*/ 3 w 76"/>
                <a:gd name="T3" fmla="*/ 54 h 54"/>
                <a:gd name="T4" fmla="*/ 71 w 76"/>
                <a:gd name="T5" fmla="*/ 8 h 54"/>
                <a:gd name="T6" fmla="*/ 70 w 76"/>
                <a:gd name="T7" fmla="*/ 20 h 54"/>
                <a:gd name="T8" fmla="*/ 72 w 76"/>
                <a:gd name="T9" fmla="*/ 22 h 54"/>
                <a:gd name="T10" fmla="*/ 72 w 76"/>
                <a:gd name="T11" fmla="*/ 22 h 54"/>
                <a:gd name="T12" fmla="*/ 74 w 76"/>
                <a:gd name="T13" fmla="*/ 20 h 54"/>
                <a:gd name="T14" fmla="*/ 76 w 76"/>
                <a:gd name="T15" fmla="*/ 4 h 54"/>
                <a:gd name="T16" fmla="*/ 74 w 76"/>
                <a:gd name="T17" fmla="*/ 2 h 54"/>
                <a:gd name="T18" fmla="*/ 58 w 76"/>
                <a:gd name="T19" fmla="*/ 0 h 54"/>
                <a:gd name="T20" fmla="*/ 56 w 76"/>
                <a:gd name="T21" fmla="*/ 2 h 54"/>
                <a:gd name="T22" fmla="*/ 58 w 76"/>
                <a:gd name="T23" fmla="*/ 4 h 54"/>
                <a:gd name="T24" fmla="*/ 68 w 76"/>
                <a:gd name="T25" fmla="*/ 5 h 54"/>
                <a:gd name="T26" fmla="*/ 1 w 76"/>
                <a:gd name="T27" fmla="*/ 50 h 54"/>
                <a:gd name="T28" fmla="*/ 0 w 76"/>
                <a:gd name="T29" fmla="*/ 53 h 54"/>
                <a:gd name="T30" fmla="*/ 2 w 76"/>
                <a:gd name="T3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54">
                  <a:moveTo>
                    <a:pt x="2" y="54"/>
                  </a:moveTo>
                  <a:cubicBezTo>
                    <a:pt x="2" y="54"/>
                    <a:pt x="3" y="54"/>
                    <a:pt x="3" y="54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1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4" y="21"/>
                    <a:pt x="74" y="2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3"/>
                    <a:pt x="75" y="2"/>
                    <a:pt x="74" y="2"/>
                  </a:cubicBezTo>
                  <a:cubicBezTo>
                    <a:pt x="74" y="2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3"/>
                    <a:pt x="57" y="4"/>
                    <a:pt x="5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51"/>
                    <a:pt x="0" y="52"/>
                    <a:pt x="0" y="53"/>
                  </a:cubicBezTo>
                  <a:cubicBezTo>
                    <a:pt x="1" y="54"/>
                    <a:pt x="1" y="54"/>
                    <a:pt x="2" y="5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15" name="Oval 214">
            <a:extLst>
              <a:ext uri="{FF2B5EF4-FFF2-40B4-BE49-F238E27FC236}">
                <a16:creationId xmlns="" xmlns:a16="http://schemas.microsoft.com/office/drawing/2014/main" id="{4E6700A4-5B68-4225-95A1-87535C64FAA5}"/>
              </a:ext>
            </a:extLst>
          </p:cNvPr>
          <p:cNvSpPr/>
          <p:nvPr userDrawn="1"/>
        </p:nvSpPr>
        <p:spPr>
          <a:xfrm>
            <a:off x="7285687" y="3899456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68733B3B-FD16-4FDF-9E71-EA2B00708321}"/>
              </a:ext>
            </a:extLst>
          </p:cNvPr>
          <p:cNvGrpSpPr/>
          <p:nvPr userDrawn="1"/>
        </p:nvGrpSpPr>
        <p:grpSpPr>
          <a:xfrm>
            <a:off x="7415141" y="4029583"/>
            <a:ext cx="604800" cy="604800"/>
            <a:chOff x="7415141" y="4029583"/>
            <a:chExt cx="604800" cy="604800"/>
          </a:xfrm>
        </p:grpSpPr>
        <p:sp>
          <p:nvSpPr>
            <p:cNvPr id="73" name="Oval 72">
              <a:extLst>
                <a:ext uri="{FF2B5EF4-FFF2-40B4-BE49-F238E27FC236}">
                  <a16:creationId xmlns="" xmlns:a16="http://schemas.microsoft.com/office/drawing/2014/main" id="{D6DA3160-1714-4257-A6B9-2C768AE0C512}"/>
                </a:ext>
              </a:extLst>
            </p:cNvPr>
            <p:cNvSpPr/>
            <p:nvPr userDrawn="1"/>
          </p:nvSpPr>
          <p:spPr>
            <a:xfrm>
              <a:off x="7415141" y="4029583"/>
              <a:ext cx="604800" cy="6048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="" xmlns:a16="http://schemas.microsoft.com/office/drawing/2014/main" id="{9896ACC8-EA4F-4899-8A5D-72B2A5EBA031}"/>
                </a:ext>
              </a:extLst>
            </p:cNvPr>
            <p:cNvGrpSpPr/>
            <p:nvPr userDrawn="1"/>
          </p:nvGrpSpPr>
          <p:grpSpPr>
            <a:xfrm>
              <a:off x="7604815" y="4188594"/>
              <a:ext cx="262826" cy="272212"/>
              <a:chOff x="5618163" y="4232275"/>
              <a:chExt cx="400050" cy="414338"/>
            </a:xfrm>
            <a:solidFill>
              <a:schemeClr val="bg1"/>
            </a:solidFill>
          </p:grpSpPr>
          <p:sp>
            <p:nvSpPr>
              <p:cNvPr id="102" name="Freeform 5">
                <a:extLst>
                  <a:ext uri="{FF2B5EF4-FFF2-40B4-BE49-F238E27FC236}">
                    <a16:creationId xmlns="" xmlns:a16="http://schemas.microsoft.com/office/drawing/2014/main" id="{005865BD-5D16-46D6-82E0-1B7BD69795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8676" y="4535488"/>
                <a:ext cx="95250" cy="111125"/>
              </a:xfrm>
              <a:custGeom>
                <a:avLst/>
                <a:gdLst>
                  <a:gd name="T0" fmla="*/ 264 w 336"/>
                  <a:gd name="T1" fmla="*/ 240 h 384"/>
                  <a:gd name="T2" fmla="*/ 196 w 336"/>
                  <a:gd name="T3" fmla="*/ 288 h 384"/>
                  <a:gd name="T4" fmla="*/ 72 w 336"/>
                  <a:gd name="T5" fmla="*/ 288 h 384"/>
                  <a:gd name="T6" fmla="*/ 48 w 336"/>
                  <a:gd name="T7" fmla="*/ 264 h 384"/>
                  <a:gd name="T8" fmla="*/ 48 w 336"/>
                  <a:gd name="T9" fmla="*/ 0 h 384"/>
                  <a:gd name="T10" fmla="*/ 0 w 336"/>
                  <a:gd name="T11" fmla="*/ 0 h 384"/>
                  <a:gd name="T12" fmla="*/ 0 w 336"/>
                  <a:gd name="T13" fmla="*/ 264 h 384"/>
                  <a:gd name="T14" fmla="*/ 72 w 336"/>
                  <a:gd name="T15" fmla="*/ 336 h 384"/>
                  <a:gd name="T16" fmla="*/ 196 w 336"/>
                  <a:gd name="T17" fmla="*/ 336 h 384"/>
                  <a:gd name="T18" fmla="*/ 264 w 336"/>
                  <a:gd name="T19" fmla="*/ 384 h 384"/>
                  <a:gd name="T20" fmla="*/ 336 w 336"/>
                  <a:gd name="T21" fmla="*/ 312 h 384"/>
                  <a:gd name="T22" fmla="*/ 264 w 336"/>
                  <a:gd name="T23" fmla="*/ 240 h 384"/>
                  <a:gd name="T24" fmla="*/ 264 w 336"/>
                  <a:gd name="T25" fmla="*/ 240 h 384"/>
                  <a:gd name="T26" fmla="*/ 264 w 336"/>
                  <a:gd name="T27" fmla="*/ 24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6" h="384">
                    <a:moveTo>
                      <a:pt x="264" y="240"/>
                    </a:moveTo>
                    <a:cubicBezTo>
                      <a:pt x="233" y="240"/>
                      <a:pt x="206" y="260"/>
                      <a:pt x="196" y="288"/>
                    </a:cubicBezTo>
                    <a:cubicBezTo>
                      <a:pt x="72" y="288"/>
                      <a:pt x="72" y="288"/>
                      <a:pt x="72" y="288"/>
                    </a:cubicBezTo>
                    <a:cubicBezTo>
                      <a:pt x="59" y="288"/>
                      <a:pt x="48" y="277"/>
                      <a:pt x="48" y="264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64"/>
                      <a:pt x="0" y="264"/>
                      <a:pt x="0" y="264"/>
                    </a:cubicBezTo>
                    <a:cubicBezTo>
                      <a:pt x="0" y="304"/>
                      <a:pt x="32" y="336"/>
                      <a:pt x="72" y="336"/>
                    </a:cubicBezTo>
                    <a:cubicBezTo>
                      <a:pt x="196" y="336"/>
                      <a:pt x="196" y="336"/>
                      <a:pt x="196" y="336"/>
                    </a:cubicBezTo>
                    <a:cubicBezTo>
                      <a:pt x="206" y="364"/>
                      <a:pt x="233" y="384"/>
                      <a:pt x="264" y="384"/>
                    </a:cubicBezTo>
                    <a:cubicBezTo>
                      <a:pt x="304" y="384"/>
                      <a:pt x="336" y="352"/>
                      <a:pt x="336" y="312"/>
                    </a:cubicBezTo>
                    <a:cubicBezTo>
                      <a:pt x="336" y="272"/>
                      <a:pt x="304" y="240"/>
                      <a:pt x="264" y="240"/>
                    </a:cubicBezTo>
                    <a:close/>
                    <a:moveTo>
                      <a:pt x="264" y="240"/>
                    </a:moveTo>
                    <a:cubicBezTo>
                      <a:pt x="264" y="240"/>
                      <a:pt x="264" y="240"/>
                      <a:pt x="264" y="24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">
                <a:extLst>
                  <a:ext uri="{FF2B5EF4-FFF2-40B4-BE49-F238E27FC236}">
                    <a16:creationId xmlns="" xmlns:a16="http://schemas.microsoft.com/office/drawing/2014/main" id="{E66F34CD-4E55-41E6-AB16-F2ED0FA18D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7551" y="4535488"/>
                <a:ext cx="41275" cy="111125"/>
              </a:xfrm>
              <a:custGeom>
                <a:avLst/>
                <a:gdLst>
                  <a:gd name="T0" fmla="*/ 96 w 144"/>
                  <a:gd name="T1" fmla="*/ 244 h 384"/>
                  <a:gd name="T2" fmla="*/ 96 w 144"/>
                  <a:gd name="T3" fmla="*/ 0 h 384"/>
                  <a:gd name="T4" fmla="*/ 48 w 144"/>
                  <a:gd name="T5" fmla="*/ 0 h 384"/>
                  <a:gd name="T6" fmla="*/ 48 w 144"/>
                  <a:gd name="T7" fmla="*/ 244 h 384"/>
                  <a:gd name="T8" fmla="*/ 0 w 144"/>
                  <a:gd name="T9" fmla="*/ 312 h 384"/>
                  <a:gd name="T10" fmla="*/ 72 w 144"/>
                  <a:gd name="T11" fmla="*/ 384 h 384"/>
                  <a:gd name="T12" fmla="*/ 144 w 144"/>
                  <a:gd name="T13" fmla="*/ 312 h 384"/>
                  <a:gd name="T14" fmla="*/ 96 w 144"/>
                  <a:gd name="T15" fmla="*/ 244 h 384"/>
                  <a:gd name="T16" fmla="*/ 96 w 144"/>
                  <a:gd name="T17" fmla="*/ 244 h 384"/>
                  <a:gd name="T18" fmla="*/ 96 w 144"/>
                  <a:gd name="T19" fmla="*/ 24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384">
                    <a:moveTo>
                      <a:pt x="96" y="244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244"/>
                      <a:pt x="48" y="244"/>
                      <a:pt x="48" y="244"/>
                    </a:cubicBezTo>
                    <a:cubicBezTo>
                      <a:pt x="20" y="254"/>
                      <a:pt x="0" y="281"/>
                      <a:pt x="0" y="312"/>
                    </a:cubicBezTo>
                    <a:cubicBezTo>
                      <a:pt x="0" y="352"/>
                      <a:pt x="32" y="384"/>
                      <a:pt x="72" y="384"/>
                    </a:cubicBezTo>
                    <a:cubicBezTo>
                      <a:pt x="112" y="384"/>
                      <a:pt x="144" y="352"/>
                      <a:pt x="144" y="312"/>
                    </a:cubicBezTo>
                    <a:cubicBezTo>
                      <a:pt x="144" y="281"/>
                      <a:pt x="124" y="254"/>
                      <a:pt x="96" y="244"/>
                    </a:cubicBezTo>
                    <a:close/>
                    <a:moveTo>
                      <a:pt x="96" y="244"/>
                    </a:moveTo>
                    <a:cubicBezTo>
                      <a:pt x="96" y="244"/>
                      <a:pt x="96" y="244"/>
                      <a:pt x="96" y="2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7">
                <a:extLst>
                  <a:ext uri="{FF2B5EF4-FFF2-40B4-BE49-F238E27FC236}">
                    <a16:creationId xmlns="" xmlns:a16="http://schemas.microsoft.com/office/drawing/2014/main" id="{6A983041-D42D-4C14-AD52-3FAD22AE1B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1988" y="4535488"/>
                <a:ext cx="41275" cy="76200"/>
              </a:xfrm>
              <a:custGeom>
                <a:avLst/>
                <a:gdLst>
                  <a:gd name="T0" fmla="*/ 96 w 144"/>
                  <a:gd name="T1" fmla="*/ 124 h 264"/>
                  <a:gd name="T2" fmla="*/ 96 w 144"/>
                  <a:gd name="T3" fmla="*/ 0 h 264"/>
                  <a:gd name="T4" fmla="*/ 48 w 144"/>
                  <a:gd name="T5" fmla="*/ 0 h 264"/>
                  <a:gd name="T6" fmla="*/ 48 w 144"/>
                  <a:gd name="T7" fmla="*/ 124 h 264"/>
                  <a:gd name="T8" fmla="*/ 0 w 144"/>
                  <a:gd name="T9" fmla="*/ 192 h 264"/>
                  <a:gd name="T10" fmla="*/ 72 w 144"/>
                  <a:gd name="T11" fmla="*/ 264 h 264"/>
                  <a:gd name="T12" fmla="*/ 144 w 144"/>
                  <a:gd name="T13" fmla="*/ 192 h 264"/>
                  <a:gd name="T14" fmla="*/ 96 w 144"/>
                  <a:gd name="T15" fmla="*/ 124 h 264"/>
                  <a:gd name="T16" fmla="*/ 96 w 144"/>
                  <a:gd name="T17" fmla="*/ 124 h 264"/>
                  <a:gd name="T18" fmla="*/ 96 w 144"/>
                  <a:gd name="T19" fmla="*/ 12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264">
                    <a:moveTo>
                      <a:pt x="96" y="124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24"/>
                      <a:pt x="48" y="124"/>
                      <a:pt x="48" y="124"/>
                    </a:cubicBezTo>
                    <a:cubicBezTo>
                      <a:pt x="20" y="134"/>
                      <a:pt x="0" y="161"/>
                      <a:pt x="0" y="192"/>
                    </a:cubicBezTo>
                    <a:cubicBezTo>
                      <a:pt x="0" y="232"/>
                      <a:pt x="32" y="264"/>
                      <a:pt x="72" y="264"/>
                    </a:cubicBezTo>
                    <a:cubicBezTo>
                      <a:pt x="112" y="264"/>
                      <a:pt x="144" y="232"/>
                      <a:pt x="144" y="192"/>
                    </a:cubicBezTo>
                    <a:cubicBezTo>
                      <a:pt x="144" y="161"/>
                      <a:pt x="124" y="134"/>
                      <a:pt x="96" y="124"/>
                    </a:cubicBezTo>
                    <a:close/>
                    <a:moveTo>
                      <a:pt x="96" y="124"/>
                    </a:moveTo>
                    <a:cubicBezTo>
                      <a:pt x="96" y="124"/>
                      <a:pt x="96" y="124"/>
                      <a:pt x="96" y="1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">
                <a:extLst>
                  <a:ext uri="{FF2B5EF4-FFF2-40B4-BE49-F238E27FC236}">
                    <a16:creationId xmlns="" xmlns:a16="http://schemas.microsoft.com/office/drawing/2014/main" id="{0AFC4267-F70D-4848-9E18-A47940A137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3113" y="4535488"/>
                <a:ext cx="41275" cy="76200"/>
              </a:xfrm>
              <a:custGeom>
                <a:avLst/>
                <a:gdLst>
                  <a:gd name="T0" fmla="*/ 96 w 144"/>
                  <a:gd name="T1" fmla="*/ 124 h 264"/>
                  <a:gd name="T2" fmla="*/ 96 w 144"/>
                  <a:gd name="T3" fmla="*/ 0 h 264"/>
                  <a:gd name="T4" fmla="*/ 48 w 144"/>
                  <a:gd name="T5" fmla="*/ 0 h 264"/>
                  <a:gd name="T6" fmla="*/ 48 w 144"/>
                  <a:gd name="T7" fmla="*/ 124 h 264"/>
                  <a:gd name="T8" fmla="*/ 0 w 144"/>
                  <a:gd name="T9" fmla="*/ 192 h 264"/>
                  <a:gd name="T10" fmla="*/ 72 w 144"/>
                  <a:gd name="T11" fmla="*/ 264 h 264"/>
                  <a:gd name="T12" fmla="*/ 144 w 144"/>
                  <a:gd name="T13" fmla="*/ 192 h 264"/>
                  <a:gd name="T14" fmla="*/ 96 w 144"/>
                  <a:gd name="T15" fmla="*/ 124 h 264"/>
                  <a:gd name="T16" fmla="*/ 96 w 144"/>
                  <a:gd name="T17" fmla="*/ 124 h 264"/>
                  <a:gd name="T18" fmla="*/ 96 w 144"/>
                  <a:gd name="T19" fmla="*/ 12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264">
                    <a:moveTo>
                      <a:pt x="96" y="124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24"/>
                      <a:pt x="48" y="124"/>
                      <a:pt x="48" y="124"/>
                    </a:cubicBezTo>
                    <a:cubicBezTo>
                      <a:pt x="20" y="134"/>
                      <a:pt x="0" y="161"/>
                      <a:pt x="0" y="192"/>
                    </a:cubicBezTo>
                    <a:cubicBezTo>
                      <a:pt x="0" y="232"/>
                      <a:pt x="32" y="264"/>
                      <a:pt x="72" y="264"/>
                    </a:cubicBezTo>
                    <a:cubicBezTo>
                      <a:pt x="112" y="264"/>
                      <a:pt x="144" y="232"/>
                      <a:pt x="144" y="192"/>
                    </a:cubicBezTo>
                    <a:cubicBezTo>
                      <a:pt x="144" y="161"/>
                      <a:pt x="124" y="134"/>
                      <a:pt x="96" y="124"/>
                    </a:cubicBezTo>
                    <a:close/>
                    <a:moveTo>
                      <a:pt x="96" y="124"/>
                    </a:moveTo>
                    <a:cubicBezTo>
                      <a:pt x="96" y="124"/>
                      <a:pt x="96" y="124"/>
                      <a:pt x="96" y="1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9">
                <a:extLst>
                  <a:ext uri="{FF2B5EF4-FFF2-40B4-BE49-F238E27FC236}">
                    <a16:creationId xmlns="" xmlns:a16="http://schemas.microsoft.com/office/drawing/2014/main" id="{55EC672E-D178-4178-83EB-110EE9E210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2451" y="4535488"/>
                <a:ext cx="96838" cy="111125"/>
              </a:xfrm>
              <a:custGeom>
                <a:avLst/>
                <a:gdLst>
                  <a:gd name="T0" fmla="*/ 288 w 336"/>
                  <a:gd name="T1" fmla="*/ 264 h 384"/>
                  <a:gd name="T2" fmla="*/ 264 w 336"/>
                  <a:gd name="T3" fmla="*/ 288 h 384"/>
                  <a:gd name="T4" fmla="*/ 140 w 336"/>
                  <a:gd name="T5" fmla="*/ 288 h 384"/>
                  <a:gd name="T6" fmla="*/ 72 w 336"/>
                  <a:gd name="T7" fmla="*/ 240 h 384"/>
                  <a:gd name="T8" fmla="*/ 0 w 336"/>
                  <a:gd name="T9" fmla="*/ 312 h 384"/>
                  <a:gd name="T10" fmla="*/ 72 w 336"/>
                  <a:gd name="T11" fmla="*/ 384 h 384"/>
                  <a:gd name="T12" fmla="*/ 140 w 336"/>
                  <a:gd name="T13" fmla="*/ 336 h 384"/>
                  <a:gd name="T14" fmla="*/ 264 w 336"/>
                  <a:gd name="T15" fmla="*/ 336 h 384"/>
                  <a:gd name="T16" fmla="*/ 336 w 336"/>
                  <a:gd name="T17" fmla="*/ 264 h 384"/>
                  <a:gd name="T18" fmla="*/ 336 w 336"/>
                  <a:gd name="T19" fmla="*/ 0 h 384"/>
                  <a:gd name="T20" fmla="*/ 288 w 336"/>
                  <a:gd name="T21" fmla="*/ 0 h 384"/>
                  <a:gd name="T22" fmla="*/ 288 w 336"/>
                  <a:gd name="T23" fmla="*/ 264 h 384"/>
                  <a:gd name="T24" fmla="*/ 288 w 336"/>
                  <a:gd name="T25" fmla="*/ 264 h 384"/>
                  <a:gd name="T26" fmla="*/ 288 w 336"/>
                  <a:gd name="T27" fmla="*/ 26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6" h="384">
                    <a:moveTo>
                      <a:pt x="288" y="264"/>
                    </a:moveTo>
                    <a:cubicBezTo>
                      <a:pt x="288" y="277"/>
                      <a:pt x="277" y="288"/>
                      <a:pt x="264" y="288"/>
                    </a:cubicBezTo>
                    <a:cubicBezTo>
                      <a:pt x="140" y="288"/>
                      <a:pt x="140" y="288"/>
                      <a:pt x="140" y="288"/>
                    </a:cubicBezTo>
                    <a:cubicBezTo>
                      <a:pt x="130" y="260"/>
                      <a:pt x="103" y="240"/>
                      <a:pt x="72" y="240"/>
                    </a:cubicBezTo>
                    <a:cubicBezTo>
                      <a:pt x="32" y="240"/>
                      <a:pt x="0" y="272"/>
                      <a:pt x="0" y="312"/>
                    </a:cubicBezTo>
                    <a:cubicBezTo>
                      <a:pt x="0" y="352"/>
                      <a:pt x="32" y="384"/>
                      <a:pt x="72" y="384"/>
                    </a:cubicBezTo>
                    <a:cubicBezTo>
                      <a:pt x="103" y="384"/>
                      <a:pt x="130" y="364"/>
                      <a:pt x="140" y="336"/>
                    </a:cubicBezTo>
                    <a:cubicBezTo>
                      <a:pt x="264" y="336"/>
                      <a:pt x="264" y="336"/>
                      <a:pt x="264" y="336"/>
                    </a:cubicBezTo>
                    <a:cubicBezTo>
                      <a:pt x="304" y="336"/>
                      <a:pt x="336" y="304"/>
                      <a:pt x="336" y="264"/>
                    </a:cubicBezTo>
                    <a:cubicBezTo>
                      <a:pt x="336" y="0"/>
                      <a:pt x="336" y="0"/>
                      <a:pt x="336" y="0"/>
                    </a:cubicBezTo>
                    <a:cubicBezTo>
                      <a:pt x="288" y="0"/>
                      <a:pt x="288" y="0"/>
                      <a:pt x="288" y="0"/>
                    </a:cubicBezTo>
                    <a:lnTo>
                      <a:pt x="288" y="264"/>
                    </a:lnTo>
                    <a:close/>
                    <a:moveTo>
                      <a:pt x="288" y="264"/>
                    </a:moveTo>
                    <a:cubicBezTo>
                      <a:pt x="288" y="264"/>
                      <a:pt x="288" y="264"/>
                      <a:pt x="288" y="26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0">
                <a:extLst>
                  <a:ext uri="{FF2B5EF4-FFF2-40B4-BE49-F238E27FC236}">
                    <a16:creationId xmlns="" xmlns:a16="http://schemas.microsoft.com/office/drawing/2014/main" id="{C941B8E2-E3A1-471E-8706-ED20119EB7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83251" y="4232275"/>
                <a:ext cx="76200" cy="41275"/>
              </a:xfrm>
              <a:custGeom>
                <a:avLst/>
                <a:gdLst>
                  <a:gd name="T0" fmla="*/ 266 w 266"/>
                  <a:gd name="T1" fmla="*/ 144 h 144"/>
                  <a:gd name="T2" fmla="*/ 133 w 266"/>
                  <a:gd name="T3" fmla="*/ 0 h 144"/>
                  <a:gd name="T4" fmla="*/ 0 w 266"/>
                  <a:gd name="T5" fmla="*/ 144 h 144"/>
                  <a:gd name="T6" fmla="*/ 266 w 266"/>
                  <a:gd name="T7" fmla="*/ 144 h 144"/>
                  <a:gd name="T8" fmla="*/ 266 w 266"/>
                  <a:gd name="T9" fmla="*/ 144 h 144"/>
                  <a:gd name="T10" fmla="*/ 266 w 266"/>
                  <a:gd name="T1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6" h="144">
                    <a:moveTo>
                      <a:pt x="266" y="144"/>
                    </a:moveTo>
                    <a:cubicBezTo>
                      <a:pt x="235" y="57"/>
                      <a:pt x="187" y="0"/>
                      <a:pt x="133" y="0"/>
                    </a:cubicBezTo>
                    <a:cubicBezTo>
                      <a:pt x="79" y="0"/>
                      <a:pt x="31" y="57"/>
                      <a:pt x="0" y="144"/>
                    </a:cubicBezTo>
                    <a:lnTo>
                      <a:pt x="266" y="144"/>
                    </a:lnTo>
                    <a:close/>
                    <a:moveTo>
                      <a:pt x="266" y="144"/>
                    </a:moveTo>
                    <a:cubicBezTo>
                      <a:pt x="266" y="144"/>
                      <a:pt x="266" y="144"/>
                      <a:pt x="266" y="1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1">
                <a:extLst>
                  <a:ext uri="{FF2B5EF4-FFF2-40B4-BE49-F238E27FC236}">
                    <a16:creationId xmlns="" xmlns:a16="http://schemas.microsoft.com/office/drawing/2014/main" id="{D4788F55-EDDC-473A-A3D7-CAEF0333FB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3726" y="4287838"/>
                <a:ext cx="95250" cy="41275"/>
              </a:xfrm>
              <a:custGeom>
                <a:avLst/>
                <a:gdLst>
                  <a:gd name="T0" fmla="*/ 315 w 334"/>
                  <a:gd name="T1" fmla="*/ 0 h 144"/>
                  <a:gd name="T2" fmla="*/ 19 w 334"/>
                  <a:gd name="T3" fmla="*/ 0 h 144"/>
                  <a:gd name="T4" fmla="*/ 0 w 334"/>
                  <a:gd name="T5" fmla="*/ 144 h 144"/>
                  <a:gd name="T6" fmla="*/ 334 w 334"/>
                  <a:gd name="T7" fmla="*/ 144 h 144"/>
                  <a:gd name="T8" fmla="*/ 315 w 334"/>
                  <a:gd name="T9" fmla="*/ 0 h 144"/>
                  <a:gd name="T10" fmla="*/ 315 w 334"/>
                  <a:gd name="T11" fmla="*/ 0 h 144"/>
                  <a:gd name="T12" fmla="*/ 315 w 334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4" h="144">
                    <a:moveTo>
                      <a:pt x="315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44"/>
                      <a:pt x="1" y="93"/>
                      <a:pt x="0" y="144"/>
                    </a:cubicBezTo>
                    <a:cubicBezTo>
                      <a:pt x="334" y="144"/>
                      <a:pt x="334" y="144"/>
                      <a:pt x="334" y="144"/>
                    </a:cubicBezTo>
                    <a:cubicBezTo>
                      <a:pt x="333" y="93"/>
                      <a:pt x="326" y="44"/>
                      <a:pt x="315" y="0"/>
                    </a:cubicBezTo>
                    <a:close/>
                    <a:moveTo>
                      <a:pt x="315" y="0"/>
                    </a:moveTo>
                    <a:cubicBezTo>
                      <a:pt x="315" y="0"/>
                      <a:pt x="315" y="0"/>
                      <a:pt x="3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2">
                <a:extLst>
                  <a:ext uri="{FF2B5EF4-FFF2-40B4-BE49-F238E27FC236}">
                    <a16:creationId xmlns="" xmlns:a16="http://schemas.microsoft.com/office/drawing/2014/main" id="{2D9BD399-54DC-4BE8-898C-7F5238B463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3726" y="4343400"/>
                <a:ext cx="95250" cy="44450"/>
              </a:xfrm>
              <a:custGeom>
                <a:avLst/>
                <a:gdLst>
                  <a:gd name="T0" fmla="*/ 262 w 334"/>
                  <a:gd name="T1" fmla="*/ 158 h 158"/>
                  <a:gd name="T2" fmla="*/ 332 w 334"/>
                  <a:gd name="T3" fmla="*/ 38 h 158"/>
                  <a:gd name="T4" fmla="*/ 334 w 334"/>
                  <a:gd name="T5" fmla="*/ 0 h 158"/>
                  <a:gd name="T6" fmla="*/ 0 w 334"/>
                  <a:gd name="T7" fmla="*/ 0 h 158"/>
                  <a:gd name="T8" fmla="*/ 19 w 334"/>
                  <a:gd name="T9" fmla="*/ 144 h 158"/>
                  <a:gd name="T10" fmla="*/ 191 w 334"/>
                  <a:gd name="T11" fmla="*/ 144 h 158"/>
                  <a:gd name="T12" fmla="*/ 262 w 334"/>
                  <a:gd name="T13" fmla="*/ 158 h 158"/>
                  <a:gd name="T14" fmla="*/ 262 w 334"/>
                  <a:gd name="T15" fmla="*/ 158 h 158"/>
                  <a:gd name="T16" fmla="*/ 262 w 334"/>
                  <a:gd name="T17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4" h="158">
                    <a:moveTo>
                      <a:pt x="262" y="158"/>
                    </a:moveTo>
                    <a:cubicBezTo>
                      <a:pt x="278" y="113"/>
                      <a:pt x="302" y="73"/>
                      <a:pt x="332" y="38"/>
                    </a:cubicBezTo>
                    <a:cubicBezTo>
                      <a:pt x="333" y="25"/>
                      <a:pt x="334" y="13"/>
                      <a:pt x="33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50"/>
                      <a:pt x="8" y="99"/>
                      <a:pt x="19" y="144"/>
                    </a:cubicBezTo>
                    <a:cubicBezTo>
                      <a:pt x="191" y="144"/>
                      <a:pt x="191" y="144"/>
                      <a:pt x="191" y="144"/>
                    </a:cubicBezTo>
                    <a:cubicBezTo>
                      <a:pt x="216" y="144"/>
                      <a:pt x="240" y="149"/>
                      <a:pt x="262" y="158"/>
                    </a:cubicBezTo>
                    <a:close/>
                    <a:moveTo>
                      <a:pt x="262" y="158"/>
                    </a:moveTo>
                    <a:cubicBezTo>
                      <a:pt x="262" y="158"/>
                      <a:pt x="262" y="158"/>
                      <a:pt x="262" y="15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3">
                <a:extLst>
                  <a:ext uri="{FF2B5EF4-FFF2-40B4-BE49-F238E27FC236}">
                    <a16:creationId xmlns="" xmlns:a16="http://schemas.microsoft.com/office/drawing/2014/main" id="{109CA5BB-0189-4F29-ABCF-DB2838D34E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801" y="4238625"/>
                <a:ext cx="47625" cy="34925"/>
              </a:xfrm>
              <a:custGeom>
                <a:avLst/>
                <a:gdLst>
                  <a:gd name="T0" fmla="*/ 165 w 165"/>
                  <a:gd name="T1" fmla="*/ 0 h 122"/>
                  <a:gd name="T2" fmla="*/ 0 w 165"/>
                  <a:gd name="T3" fmla="*/ 122 h 122"/>
                  <a:gd name="T4" fmla="*/ 103 w 165"/>
                  <a:gd name="T5" fmla="*/ 122 h 122"/>
                  <a:gd name="T6" fmla="*/ 165 w 165"/>
                  <a:gd name="T7" fmla="*/ 0 h 122"/>
                  <a:gd name="T8" fmla="*/ 165 w 165"/>
                  <a:gd name="T9" fmla="*/ 0 h 122"/>
                  <a:gd name="T10" fmla="*/ 165 w 165"/>
                  <a:gd name="T11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122">
                    <a:moveTo>
                      <a:pt x="165" y="0"/>
                    </a:moveTo>
                    <a:cubicBezTo>
                      <a:pt x="98" y="24"/>
                      <a:pt x="41" y="67"/>
                      <a:pt x="0" y="122"/>
                    </a:cubicBezTo>
                    <a:cubicBezTo>
                      <a:pt x="103" y="122"/>
                      <a:pt x="103" y="122"/>
                      <a:pt x="103" y="122"/>
                    </a:cubicBezTo>
                    <a:cubicBezTo>
                      <a:pt x="119" y="73"/>
                      <a:pt x="140" y="32"/>
                      <a:pt x="165" y="0"/>
                    </a:cubicBezTo>
                    <a:close/>
                    <a:moveTo>
                      <a:pt x="165" y="0"/>
                    </a:moveTo>
                    <a:cubicBezTo>
                      <a:pt x="165" y="0"/>
                      <a:pt x="165" y="0"/>
                      <a:pt x="16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4">
                <a:extLst>
                  <a:ext uri="{FF2B5EF4-FFF2-40B4-BE49-F238E27FC236}">
                    <a16:creationId xmlns="" xmlns:a16="http://schemas.microsoft.com/office/drawing/2014/main" id="{C1897354-29B9-48E5-BCB0-2DB46CDAAA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163" y="4287838"/>
                <a:ext cx="47625" cy="41275"/>
              </a:xfrm>
              <a:custGeom>
                <a:avLst/>
                <a:gdLst>
                  <a:gd name="T0" fmla="*/ 162 w 162"/>
                  <a:gd name="T1" fmla="*/ 0 h 144"/>
                  <a:gd name="T2" fmla="*/ 41 w 162"/>
                  <a:gd name="T3" fmla="*/ 0 h 144"/>
                  <a:gd name="T4" fmla="*/ 0 w 162"/>
                  <a:gd name="T5" fmla="*/ 144 h 144"/>
                  <a:gd name="T6" fmla="*/ 144 w 162"/>
                  <a:gd name="T7" fmla="*/ 144 h 144"/>
                  <a:gd name="T8" fmla="*/ 162 w 162"/>
                  <a:gd name="T9" fmla="*/ 0 h 144"/>
                  <a:gd name="T10" fmla="*/ 162 w 162"/>
                  <a:gd name="T11" fmla="*/ 0 h 144"/>
                  <a:gd name="T12" fmla="*/ 162 w 162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44">
                    <a:moveTo>
                      <a:pt x="162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8" y="43"/>
                      <a:pt x="4" y="92"/>
                      <a:pt x="0" y="144"/>
                    </a:cubicBezTo>
                    <a:cubicBezTo>
                      <a:pt x="144" y="144"/>
                      <a:pt x="144" y="144"/>
                      <a:pt x="144" y="144"/>
                    </a:cubicBezTo>
                    <a:cubicBezTo>
                      <a:pt x="145" y="93"/>
                      <a:pt x="151" y="44"/>
                      <a:pt x="162" y="0"/>
                    </a:cubicBezTo>
                    <a:close/>
                    <a:moveTo>
                      <a:pt x="162" y="0"/>
                    </a:moveTo>
                    <a:cubicBezTo>
                      <a:pt x="162" y="0"/>
                      <a:pt x="162" y="0"/>
                      <a:pt x="16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15">
                <a:extLst>
                  <a:ext uri="{FF2B5EF4-FFF2-40B4-BE49-F238E27FC236}">
                    <a16:creationId xmlns="" xmlns:a16="http://schemas.microsoft.com/office/drawing/2014/main" id="{B71CA30B-E670-4FEA-9533-799D8F49E1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56276" y="4238625"/>
                <a:ext cx="47625" cy="34925"/>
              </a:xfrm>
              <a:custGeom>
                <a:avLst/>
                <a:gdLst>
                  <a:gd name="T0" fmla="*/ 166 w 166"/>
                  <a:gd name="T1" fmla="*/ 123 h 123"/>
                  <a:gd name="T2" fmla="*/ 0 w 166"/>
                  <a:gd name="T3" fmla="*/ 0 h 123"/>
                  <a:gd name="T4" fmla="*/ 62 w 166"/>
                  <a:gd name="T5" fmla="*/ 123 h 123"/>
                  <a:gd name="T6" fmla="*/ 166 w 166"/>
                  <a:gd name="T7" fmla="*/ 123 h 123"/>
                  <a:gd name="T8" fmla="*/ 166 w 166"/>
                  <a:gd name="T9" fmla="*/ 123 h 123"/>
                  <a:gd name="T10" fmla="*/ 166 w 166"/>
                  <a:gd name="T11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6" h="123">
                    <a:moveTo>
                      <a:pt x="166" y="123"/>
                    </a:moveTo>
                    <a:cubicBezTo>
                      <a:pt x="124" y="67"/>
                      <a:pt x="67" y="24"/>
                      <a:pt x="0" y="0"/>
                    </a:cubicBezTo>
                    <a:cubicBezTo>
                      <a:pt x="25" y="32"/>
                      <a:pt x="46" y="74"/>
                      <a:pt x="62" y="123"/>
                    </a:cubicBezTo>
                    <a:lnTo>
                      <a:pt x="166" y="123"/>
                    </a:lnTo>
                    <a:close/>
                    <a:moveTo>
                      <a:pt x="166" y="123"/>
                    </a:moveTo>
                    <a:cubicBezTo>
                      <a:pt x="166" y="123"/>
                      <a:pt x="166" y="123"/>
                      <a:pt x="166" y="12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6">
                <a:extLst>
                  <a:ext uri="{FF2B5EF4-FFF2-40B4-BE49-F238E27FC236}">
                    <a16:creationId xmlns="" xmlns:a16="http://schemas.microsoft.com/office/drawing/2014/main" id="{57C3CC9A-4626-475C-BEDE-9239E2799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8501" y="4287838"/>
                <a:ext cx="44450" cy="52388"/>
              </a:xfrm>
              <a:custGeom>
                <a:avLst/>
                <a:gdLst>
                  <a:gd name="T0" fmla="*/ 19 w 158"/>
                  <a:gd name="T1" fmla="*/ 168 h 181"/>
                  <a:gd name="T2" fmla="*/ 19 w 158"/>
                  <a:gd name="T3" fmla="*/ 181 h 181"/>
                  <a:gd name="T4" fmla="*/ 158 w 158"/>
                  <a:gd name="T5" fmla="*/ 110 h 181"/>
                  <a:gd name="T6" fmla="*/ 122 w 158"/>
                  <a:gd name="T7" fmla="*/ 0 h 181"/>
                  <a:gd name="T8" fmla="*/ 0 w 158"/>
                  <a:gd name="T9" fmla="*/ 0 h 181"/>
                  <a:gd name="T10" fmla="*/ 19 w 158"/>
                  <a:gd name="T11" fmla="*/ 168 h 181"/>
                  <a:gd name="T12" fmla="*/ 19 w 158"/>
                  <a:gd name="T13" fmla="*/ 168 h 181"/>
                  <a:gd name="T14" fmla="*/ 19 w 158"/>
                  <a:gd name="T15" fmla="*/ 168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8" h="181">
                    <a:moveTo>
                      <a:pt x="19" y="168"/>
                    </a:moveTo>
                    <a:cubicBezTo>
                      <a:pt x="19" y="172"/>
                      <a:pt x="19" y="177"/>
                      <a:pt x="19" y="181"/>
                    </a:cubicBezTo>
                    <a:cubicBezTo>
                      <a:pt x="59" y="148"/>
                      <a:pt x="106" y="124"/>
                      <a:pt x="158" y="110"/>
                    </a:cubicBezTo>
                    <a:cubicBezTo>
                      <a:pt x="152" y="71"/>
                      <a:pt x="139" y="34"/>
                      <a:pt x="1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51"/>
                      <a:pt x="19" y="108"/>
                      <a:pt x="19" y="168"/>
                    </a:cubicBezTo>
                    <a:close/>
                    <a:moveTo>
                      <a:pt x="19" y="168"/>
                    </a:moveTo>
                    <a:cubicBezTo>
                      <a:pt x="19" y="168"/>
                      <a:pt x="19" y="168"/>
                      <a:pt x="19" y="16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7">
                <a:extLst>
                  <a:ext uri="{FF2B5EF4-FFF2-40B4-BE49-F238E27FC236}">
                    <a16:creationId xmlns="" xmlns:a16="http://schemas.microsoft.com/office/drawing/2014/main" id="{81B0C7FF-8E35-4870-A80C-E3EED51488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801" y="4397375"/>
                <a:ext cx="53975" cy="15875"/>
              </a:xfrm>
              <a:custGeom>
                <a:avLst/>
                <a:gdLst>
                  <a:gd name="T0" fmla="*/ 50 w 185"/>
                  <a:gd name="T1" fmla="*/ 53 h 54"/>
                  <a:gd name="T2" fmla="*/ 96 w 185"/>
                  <a:gd name="T3" fmla="*/ 48 h 54"/>
                  <a:gd name="T4" fmla="*/ 143 w 185"/>
                  <a:gd name="T5" fmla="*/ 54 h 54"/>
                  <a:gd name="T6" fmla="*/ 185 w 185"/>
                  <a:gd name="T7" fmla="*/ 0 h 54"/>
                  <a:gd name="T8" fmla="*/ 0 w 185"/>
                  <a:gd name="T9" fmla="*/ 0 h 54"/>
                  <a:gd name="T10" fmla="*/ 50 w 185"/>
                  <a:gd name="T11" fmla="*/ 53 h 54"/>
                  <a:gd name="T12" fmla="*/ 50 w 185"/>
                  <a:gd name="T13" fmla="*/ 53 h 54"/>
                  <a:gd name="T14" fmla="*/ 50 w 185"/>
                  <a:gd name="T15" fmla="*/ 5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5" h="54">
                    <a:moveTo>
                      <a:pt x="50" y="53"/>
                    </a:moveTo>
                    <a:cubicBezTo>
                      <a:pt x="65" y="50"/>
                      <a:pt x="80" y="48"/>
                      <a:pt x="96" y="48"/>
                    </a:cubicBezTo>
                    <a:cubicBezTo>
                      <a:pt x="112" y="48"/>
                      <a:pt x="127" y="50"/>
                      <a:pt x="143" y="54"/>
                    </a:cubicBezTo>
                    <a:cubicBezTo>
                      <a:pt x="154" y="33"/>
                      <a:pt x="168" y="15"/>
                      <a:pt x="18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19"/>
                      <a:pt x="31" y="37"/>
                      <a:pt x="50" y="53"/>
                    </a:cubicBezTo>
                    <a:close/>
                    <a:moveTo>
                      <a:pt x="50" y="53"/>
                    </a:moveTo>
                    <a:cubicBezTo>
                      <a:pt x="50" y="53"/>
                      <a:pt x="50" y="53"/>
                      <a:pt x="50" y="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8">
                <a:extLst>
                  <a:ext uri="{FF2B5EF4-FFF2-40B4-BE49-F238E27FC236}">
                    <a16:creationId xmlns="" xmlns:a16="http://schemas.microsoft.com/office/drawing/2014/main" id="{A254227B-7781-4FB5-83B9-F4E1655E47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163" y="4343400"/>
                <a:ext cx="47625" cy="41275"/>
              </a:xfrm>
              <a:custGeom>
                <a:avLst/>
                <a:gdLst>
                  <a:gd name="T0" fmla="*/ 0 w 162"/>
                  <a:gd name="T1" fmla="*/ 0 h 144"/>
                  <a:gd name="T2" fmla="*/ 41 w 162"/>
                  <a:gd name="T3" fmla="*/ 144 h 144"/>
                  <a:gd name="T4" fmla="*/ 162 w 162"/>
                  <a:gd name="T5" fmla="*/ 144 h 144"/>
                  <a:gd name="T6" fmla="*/ 144 w 162"/>
                  <a:gd name="T7" fmla="*/ 0 h 144"/>
                  <a:gd name="T8" fmla="*/ 0 w 162"/>
                  <a:gd name="T9" fmla="*/ 0 h 144"/>
                  <a:gd name="T10" fmla="*/ 0 w 162"/>
                  <a:gd name="T11" fmla="*/ 0 h 144"/>
                  <a:gd name="T12" fmla="*/ 0 w 162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44">
                    <a:moveTo>
                      <a:pt x="0" y="0"/>
                    </a:moveTo>
                    <a:cubicBezTo>
                      <a:pt x="4" y="51"/>
                      <a:pt x="18" y="100"/>
                      <a:pt x="41" y="144"/>
                    </a:cubicBezTo>
                    <a:cubicBezTo>
                      <a:pt x="162" y="144"/>
                      <a:pt x="162" y="144"/>
                      <a:pt x="162" y="144"/>
                    </a:cubicBezTo>
                    <a:cubicBezTo>
                      <a:pt x="151" y="99"/>
                      <a:pt x="145" y="50"/>
                      <a:pt x="144" y="0"/>
                    </a:cubicBezTo>
                    <a:lnTo>
                      <a:pt x="0" y="0"/>
                    </a:ln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9">
                <a:extLst>
                  <a:ext uri="{FF2B5EF4-FFF2-40B4-BE49-F238E27FC236}">
                    <a16:creationId xmlns="" xmlns:a16="http://schemas.microsoft.com/office/drawing/2014/main" id="{5399EF34-62E2-4209-8666-CEACB9F18F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163" y="4329113"/>
                <a:ext cx="400050" cy="193675"/>
              </a:xfrm>
              <a:custGeom>
                <a:avLst/>
                <a:gdLst>
                  <a:gd name="T0" fmla="*/ 1056 w 1392"/>
                  <a:gd name="T1" fmla="*/ 504 h 672"/>
                  <a:gd name="T2" fmla="*/ 1150 w 1392"/>
                  <a:gd name="T3" fmla="*/ 301 h 672"/>
                  <a:gd name="T4" fmla="*/ 480 w 1392"/>
                  <a:gd name="T5" fmla="*/ 336 h 672"/>
                  <a:gd name="T6" fmla="*/ 442 w 1392"/>
                  <a:gd name="T7" fmla="*/ 252 h 672"/>
                  <a:gd name="T8" fmla="*/ 240 w 1392"/>
                  <a:gd name="T9" fmla="*/ 384 h 672"/>
                  <a:gd name="T10" fmla="*/ 198 w 1392"/>
                  <a:gd name="T11" fmla="*/ 339 h 672"/>
                  <a:gd name="T12" fmla="*/ 0 w 1392"/>
                  <a:gd name="T13" fmla="*/ 504 h 672"/>
                  <a:gd name="T14" fmla="*/ 1224 w 1392"/>
                  <a:gd name="T15" fmla="*/ 672 h 672"/>
                  <a:gd name="T16" fmla="*/ 1224 w 1392"/>
                  <a:gd name="T17" fmla="*/ 336 h 672"/>
                  <a:gd name="T18" fmla="*/ 408 w 1392"/>
                  <a:gd name="T19" fmla="*/ 504 h 672"/>
                  <a:gd name="T20" fmla="*/ 504 w 1392"/>
                  <a:gd name="T21" fmla="*/ 504 h 672"/>
                  <a:gd name="T22" fmla="*/ 528 w 1392"/>
                  <a:gd name="T23" fmla="*/ 336 h 672"/>
                  <a:gd name="T24" fmla="*/ 816 w 1392"/>
                  <a:gd name="T25" fmla="*/ 96 h 672"/>
                  <a:gd name="T26" fmla="*/ 528 w 1392"/>
                  <a:gd name="T27" fmla="*/ 336 h 672"/>
                  <a:gd name="T28" fmla="*/ 600 w 1392"/>
                  <a:gd name="T29" fmla="*/ 504 h 672"/>
                  <a:gd name="T30" fmla="*/ 696 w 1392"/>
                  <a:gd name="T31" fmla="*/ 504 h 672"/>
                  <a:gd name="T32" fmla="*/ 840 w 1392"/>
                  <a:gd name="T33" fmla="*/ 552 h 672"/>
                  <a:gd name="T34" fmla="*/ 840 w 1392"/>
                  <a:gd name="T35" fmla="*/ 456 h 672"/>
                  <a:gd name="T36" fmla="*/ 840 w 1392"/>
                  <a:gd name="T37" fmla="*/ 552 h 672"/>
                  <a:gd name="T38" fmla="*/ 860 w 1392"/>
                  <a:gd name="T39" fmla="*/ 100 h 672"/>
                  <a:gd name="T40" fmla="*/ 921 w 1392"/>
                  <a:gd name="T41" fmla="*/ 68 h 672"/>
                  <a:gd name="T42" fmla="*/ 1008 w 1392"/>
                  <a:gd name="T43" fmla="*/ 624 h 672"/>
                  <a:gd name="T44" fmla="*/ 960 w 1392"/>
                  <a:gd name="T45" fmla="*/ 576 h 672"/>
                  <a:gd name="T46" fmla="*/ 1008 w 1392"/>
                  <a:gd name="T47" fmla="*/ 624 h 672"/>
                  <a:gd name="T48" fmla="*/ 1056 w 1392"/>
                  <a:gd name="T49" fmla="*/ 624 h 672"/>
                  <a:gd name="T50" fmla="*/ 1104 w 1392"/>
                  <a:gd name="T51" fmla="*/ 576 h 672"/>
                  <a:gd name="T52" fmla="*/ 1224 w 1392"/>
                  <a:gd name="T53" fmla="*/ 624 h 672"/>
                  <a:gd name="T54" fmla="*/ 1152 w 1392"/>
                  <a:gd name="T55" fmla="*/ 576 h 672"/>
                  <a:gd name="T56" fmla="*/ 1296 w 1392"/>
                  <a:gd name="T57" fmla="*/ 504 h 672"/>
                  <a:gd name="T58" fmla="*/ 1224 w 1392"/>
                  <a:gd name="T59" fmla="*/ 384 h 672"/>
                  <a:gd name="T60" fmla="*/ 1224 w 1392"/>
                  <a:gd name="T61" fmla="*/ 624 h 672"/>
                  <a:gd name="T62" fmla="*/ 1224 w 1392"/>
                  <a:gd name="T63" fmla="*/ 624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92" h="672">
                    <a:moveTo>
                      <a:pt x="1224" y="336"/>
                    </a:moveTo>
                    <a:cubicBezTo>
                      <a:pt x="1131" y="336"/>
                      <a:pt x="1056" y="411"/>
                      <a:pt x="1056" y="504"/>
                    </a:cubicBezTo>
                    <a:cubicBezTo>
                      <a:pt x="1008" y="504"/>
                      <a:pt x="1008" y="504"/>
                      <a:pt x="1008" y="504"/>
                    </a:cubicBezTo>
                    <a:cubicBezTo>
                      <a:pt x="1008" y="411"/>
                      <a:pt x="1067" y="332"/>
                      <a:pt x="1150" y="301"/>
                    </a:cubicBezTo>
                    <a:cubicBezTo>
                      <a:pt x="1132" y="131"/>
                      <a:pt x="989" y="0"/>
                      <a:pt x="816" y="0"/>
                    </a:cubicBezTo>
                    <a:cubicBezTo>
                      <a:pt x="631" y="0"/>
                      <a:pt x="480" y="151"/>
                      <a:pt x="480" y="336"/>
                    </a:cubicBezTo>
                    <a:cubicBezTo>
                      <a:pt x="432" y="336"/>
                      <a:pt x="432" y="336"/>
                      <a:pt x="432" y="336"/>
                    </a:cubicBezTo>
                    <a:cubicBezTo>
                      <a:pt x="432" y="307"/>
                      <a:pt x="435" y="279"/>
                      <a:pt x="442" y="252"/>
                    </a:cubicBezTo>
                    <a:cubicBezTo>
                      <a:pt x="423" y="244"/>
                      <a:pt x="404" y="240"/>
                      <a:pt x="384" y="240"/>
                    </a:cubicBezTo>
                    <a:cubicBezTo>
                      <a:pt x="305" y="240"/>
                      <a:pt x="240" y="305"/>
                      <a:pt x="240" y="384"/>
                    </a:cubicBezTo>
                    <a:cubicBezTo>
                      <a:pt x="192" y="384"/>
                      <a:pt x="192" y="384"/>
                      <a:pt x="192" y="384"/>
                    </a:cubicBezTo>
                    <a:cubicBezTo>
                      <a:pt x="192" y="368"/>
                      <a:pt x="194" y="353"/>
                      <a:pt x="198" y="339"/>
                    </a:cubicBezTo>
                    <a:cubicBezTo>
                      <a:pt x="188" y="337"/>
                      <a:pt x="178" y="336"/>
                      <a:pt x="168" y="336"/>
                    </a:cubicBezTo>
                    <a:cubicBezTo>
                      <a:pt x="75" y="336"/>
                      <a:pt x="0" y="411"/>
                      <a:pt x="0" y="504"/>
                    </a:cubicBezTo>
                    <a:cubicBezTo>
                      <a:pt x="0" y="597"/>
                      <a:pt x="75" y="672"/>
                      <a:pt x="168" y="672"/>
                    </a:cubicBezTo>
                    <a:cubicBezTo>
                      <a:pt x="1224" y="672"/>
                      <a:pt x="1224" y="672"/>
                      <a:pt x="1224" y="672"/>
                    </a:cubicBezTo>
                    <a:cubicBezTo>
                      <a:pt x="1317" y="672"/>
                      <a:pt x="1392" y="597"/>
                      <a:pt x="1392" y="504"/>
                    </a:cubicBezTo>
                    <a:cubicBezTo>
                      <a:pt x="1392" y="411"/>
                      <a:pt x="1317" y="336"/>
                      <a:pt x="1224" y="336"/>
                    </a:cubicBezTo>
                    <a:close/>
                    <a:moveTo>
                      <a:pt x="456" y="552"/>
                    </a:moveTo>
                    <a:cubicBezTo>
                      <a:pt x="429" y="552"/>
                      <a:pt x="408" y="531"/>
                      <a:pt x="408" y="504"/>
                    </a:cubicBezTo>
                    <a:cubicBezTo>
                      <a:pt x="408" y="477"/>
                      <a:pt x="429" y="456"/>
                      <a:pt x="456" y="456"/>
                    </a:cubicBezTo>
                    <a:cubicBezTo>
                      <a:pt x="483" y="456"/>
                      <a:pt x="504" y="477"/>
                      <a:pt x="504" y="504"/>
                    </a:cubicBezTo>
                    <a:cubicBezTo>
                      <a:pt x="504" y="531"/>
                      <a:pt x="483" y="552"/>
                      <a:pt x="456" y="552"/>
                    </a:cubicBezTo>
                    <a:close/>
                    <a:moveTo>
                      <a:pt x="528" y="336"/>
                    </a:moveTo>
                    <a:cubicBezTo>
                      <a:pt x="528" y="177"/>
                      <a:pt x="657" y="48"/>
                      <a:pt x="816" y="48"/>
                    </a:cubicBezTo>
                    <a:cubicBezTo>
                      <a:pt x="816" y="96"/>
                      <a:pt x="816" y="96"/>
                      <a:pt x="816" y="96"/>
                    </a:cubicBezTo>
                    <a:cubicBezTo>
                      <a:pt x="684" y="96"/>
                      <a:pt x="576" y="204"/>
                      <a:pt x="576" y="336"/>
                    </a:cubicBezTo>
                    <a:lnTo>
                      <a:pt x="528" y="336"/>
                    </a:lnTo>
                    <a:close/>
                    <a:moveTo>
                      <a:pt x="648" y="552"/>
                    </a:moveTo>
                    <a:cubicBezTo>
                      <a:pt x="621" y="552"/>
                      <a:pt x="600" y="531"/>
                      <a:pt x="600" y="504"/>
                    </a:cubicBezTo>
                    <a:cubicBezTo>
                      <a:pt x="600" y="477"/>
                      <a:pt x="621" y="456"/>
                      <a:pt x="648" y="456"/>
                    </a:cubicBezTo>
                    <a:cubicBezTo>
                      <a:pt x="675" y="456"/>
                      <a:pt x="696" y="477"/>
                      <a:pt x="696" y="504"/>
                    </a:cubicBezTo>
                    <a:cubicBezTo>
                      <a:pt x="696" y="531"/>
                      <a:pt x="675" y="552"/>
                      <a:pt x="648" y="552"/>
                    </a:cubicBezTo>
                    <a:close/>
                    <a:moveTo>
                      <a:pt x="840" y="552"/>
                    </a:moveTo>
                    <a:cubicBezTo>
                      <a:pt x="813" y="552"/>
                      <a:pt x="792" y="531"/>
                      <a:pt x="792" y="504"/>
                    </a:cubicBezTo>
                    <a:cubicBezTo>
                      <a:pt x="792" y="477"/>
                      <a:pt x="813" y="456"/>
                      <a:pt x="840" y="456"/>
                    </a:cubicBezTo>
                    <a:cubicBezTo>
                      <a:pt x="867" y="456"/>
                      <a:pt x="888" y="477"/>
                      <a:pt x="888" y="504"/>
                    </a:cubicBezTo>
                    <a:cubicBezTo>
                      <a:pt x="888" y="531"/>
                      <a:pt x="867" y="552"/>
                      <a:pt x="840" y="552"/>
                    </a:cubicBezTo>
                    <a:close/>
                    <a:moveTo>
                      <a:pt x="903" y="112"/>
                    </a:moveTo>
                    <a:cubicBezTo>
                      <a:pt x="889" y="107"/>
                      <a:pt x="875" y="103"/>
                      <a:pt x="860" y="100"/>
                    </a:cubicBezTo>
                    <a:cubicBezTo>
                      <a:pt x="868" y="53"/>
                      <a:pt x="868" y="53"/>
                      <a:pt x="868" y="53"/>
                    </a:cubicBezTo>
                    <a:cubicBezTo>
                      <a:pt x="886" y="56"/>
                      <a:pt x="904" y="61"/>
                      <a:pt x="921" y="68"/>
                    </a:cubicBezTo>
                    <a:lnTo>
                      <a:pt x="903" y="112"/>
                    </a:lnTo>
                    <a:close/>
                    <a:moveTo>
                      <a:pt x="1008" y="624"/>
                    </a:moveTo>
                    <a:cubicBezTo>
                      <a:pt x="960" y="624"/>
                      <a:pt x="960" y="624"/>
                      <a:pt x="960" y="624"/>
                    </a:cubicBezTo>
                    <a:cubicBezTo>
                      <a:pt x="960" y="576"/>
                      <a:pt x="960" y="576"/>
                      <a:pt x="960" y="576"/>
                    </a:cubicBezTo>
                    <a:cubicBezTo>
                      <a:pt x="1008" y="576"/>
                      <a:pt x="1008" y="576"/>
                      <a:pt x="1008" y="576"/>
                    </a:cubicBezTo>
                    <a:lnTo>
                      <a:pt x="1008" y="624"/>
                    </a:lnTo>
                    <a:close/>
                    <a:moveTo>
                      <a:pt x="1104" y="624"/>
                    </a:moveTo>
                    <a:cubicBezTo>
                      <a:pt x="1056" y="624"/>
                      <a:pt x="1056" y="624"/>
                      <a:pt x="1056" y="624"/>
                    </a:cubicBezTo>
                    <a:cubicBezTo>
                      <a:pt x="1056" y="576"/>
                      <a:pt x="1056" y="576"/>
                      <a:pt x="1056" y="576"/>
                    </a:cubicBezTo>
                    <a:cubicBezTo>
                      <a:pt x="1104" y="576"/>
                      <a:pt x="1104" y="576"/>
                      <a:pt x="1104" y="576"/>
                    </a:cubicBezTo>
                    <a:lnTo>
                      <a:pt x="1104" y="624"/>
                    </a:lnTo>
                    <a:close/>
                    <a:moveTo>
                      <a:pt x="1224" y="624"/>
                    </a:moveTo>
                    <a:cubicBezTo>
                      <a:pt x="1152" y="624"/>
                      <a:pt x="1152" y="624"/>
                      <a:pt x="1152" y="624"/>
                    </a:cubicBezTo>
                    <a:cubicBezTo>
                      <a:pt x="1152" y="576"/>
                      <a:pt x="1152" y="576"/>
                      <a:pt x="1152" y="576"/>
                    </a:cubicBezTo>
                    <a:cubicBezTo>
                      <a:pt x="1224" y="576"/>
                      <a:pt x="1224" y="576"/>
                      <a:pt x="1224" y="576"/>
                    </a:cubicBezTo>
                    <a:cubicBezTo>
                      <a:pt x="1264" y="576"/>
                      <a:pt x="1296" y="544"/>
                      <a:pt x="1296" y="504"/>
                    </a:cubicBezTo>
                    <a:cubicBezTo>
                      <a:pt x="1296" y="464"/>
                      <a:pt x="1264" y="432"/>
                      <a:pt x="1224" y="432"/>
                    </a:cubicBezTo>
                    <a:cubicBezTo>
                      <a:pt x="1224" y="384"/>
                      <a:pt x="1224" y="384"/>
                      <a:pt x="1224" y="384"/>
                    </a:cubicBezTo>
                    <a:cubicBezTo>
                      <a:pt x="1290" y="384"/>
                      <a:pt x="1344" y="438"/>
                      <a:pt x="1344" y="504"/>
                    </a:cubicBezTo>
                    <a:cubicBezTo>
                      <a:pt x="1344" y="570"/>
                      <a:pt x="1290" y="624"/>
                      <a:pt x="1224" y="624"/>
                    </a:cubicBezTo>
                    <a:close/>
                    <a:moveTo>
                      <a:pt x="1224" y="624"/>
                    </a:moveTo>
                    <a:cubicBezTo>
                      <a:pt x="1224" y="624"/>
                      <a:pt x="1224" y="624"/>
                      <a:pt x="1224" y="6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80" name="Content Placeholder 3">
            <a:extLst>
              <a:ext uri="{FF2B5EF4-FFF2-40B4-BE49-F238E27FC236}">
                <a16:creationId xmlns="" xmlns:a16="http://schemas.microsoft.com/office/drawing/2014/main" id="{EC9AA521-B132-450A-AD25-0047BC7C500A}"/>
              </a:ext>
            </a:extLst>
          </p:cNvPr>
          <p:cNvSpPr>
            <a:spLocks noGrp="1"/>
          </p:cNvSpPr>
          <p:nvPr userDrawn="1">
            <p:ph sz="quarter" idx="30"/>
          </p:nvPr>
        </p:nvSpPr>
        <p:spPr>
          <a:xfrm>
            <a:off x="849313" y="1924050"/>
            <a:ext cx="5241925" cy="3771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5" name="Slide Number Placeholder 5">
            <a:extLst>
              <a:ext uri="{FF2B5EF4-FFF2-40B4-BE49-F238E27FC236}">
                <a16:creationId xmlns="" xmlns:a16="http://schemas.microsoft.com/office/drawing/2014/main" id="{1BE8E987-02F4-6CC2-E964-509E0F31FF3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555287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0" y="-1"/>
            <a:ext cx="6024506" cy="6858001"/>
            <a:chOff x="0" y="-1"/>
            <a:chExt cx="6024506" cy="6858001"/>
          </a:xfrm>
        </p:grpSpPr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0" y="1448048"/>
            <a:ext cx="7453981" cy="4397559"/>
          </a:xfrm>
          <a:prstGeom prst="rect">
            <a:avLst/>
          </a:pr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22338" y="2802404"/>
            <a:ext cx="673996" cy="68564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22338" y="3805602"/>
            <a:ext cx="673996" cy="685646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45F5CE12-49DA-41BD-A042-DDF73CDA1192}"/>
              </a:ext>
            </a:extLst>
          </p:cNvPr>
          <p:cNvSpPr/>
          <p:nvPr/>
        </p:nvSpPr>
        <p:spPr>
          <a:xfrm>
            <a:off x="3822338" y="4808802"/>
            <a:ext cx="673996" cy="685646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35629" y="2643628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35629" y="3646826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="" xmlns:a16="http://schemas.microsoft.com/office/drawing/2014/main" id="{5F579A53-D4B9-4100-AC81-BA07F5474308}"/>
              </a:ext>
            </a:extLst>
          </p:cNvPr>
          <p:cNvCxnSpPr/>
          <p:nvPr userDrawn="1"/>
        </p:nvCxnSpPr>
        <p:spPr>
          <a:xfrm>
            <a:off x="4735629" y="4650024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956098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92365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9268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8" name="Text Placeholder 81">
            <a:extLst>
              <a:ext uri="{FF2B5EF4-FFF2-40B4-BE49-F238E27FC236}">
                <a16:creationId xmlns="" xmlns:a16="http://schemas.microsoft.com/office/drawing/2014/main" id="{36BD41E2-2AE9-440C-8339-F4869A3125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9300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959296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="" xmlns:a16="http://schemas.microsoft.com/office/drawing/2014/main" id="{464CCEC9-2CCD-47D0-BC2E-5256B144D5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962496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92" name="Graphic 4">
            <a:extLst>
              <a:ext uri="{FF2B5EF4-FFF2-40B4-BE49-F238E27FC236}">
                <a16:creationId xmlns="" xmlns:a16="http://schemas.microsoft.com/office/drawing/2014/main" id="{CD5448FB-AA87-476F-A467-5C91125ECFDF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2F133DF4-2014-429D-BD4B-2A5B49E14D6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00E5A3AC-2287-4351-8386-E77B7445E4E9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30E29ABF-7C9F-49F1-AC14-52A304EC3B89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21C07962-6387-434C-B13F-C0D659D241F1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8753C6F0-B6C8-4678-92E8-782653D51BC1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8C8157AD-9353-490E-B913-CC4DBC7332DE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06E2B-957B-40AC-A8BF-AD598EEA74BF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F2E50635-04CF-4C8A-8894-D51DE9CDB59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8842C822-B096-459F-8761-4C8CB689338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9A285D31-F743-45A0-A02A-F4CB7A5D939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A7DEFD86-1F8D-477E-8EE2-343BB18800AD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49F61D60-E604-40CE-A735-F7B35C96F580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40F65E5B-D8A7-42FA-97A4-5E84FE7A791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3DDD7588-26FB-41F4-A11A-04C9C72F49F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BFD8502A-E9E4-4E89-BA99-2997B2AACBD5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1FE53A18-EAA1-4293-A010-40D8E4C13072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16A7B38-8FF5-4FA0-9B07-7E3CAE63709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9229B6E-41F0-4A13-927B-1E1824E2649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852502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0" y="-1"/>
            <a:ext cx="6024506" cy="6858001"/>
            <a:chOff x="0" y="-1"/>
            <a:chExt cx="6024506" cy="6858001"/>
          </a:xfrm>
        </p:grpSpPr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0" y="1448048"/>
            <a:ext cx="7453981" cy="4397559"/>
          </a:xfrm>
          <a:prstGeom prst="rect">
            <a:avLst/>
          </a:pr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92" name="Graphic 4">
            <a:extLst>
              <a:ext uri="{FF2B5EF4-FFF2-40B4-BE49-F238E27FC236}">
                <a16:creationId xmlns="" xmlns:a16="http://schemas.microsoft.com/office/drawing/2014/main" id="{CD5448FB-AA87-476F-A467-5C91125ECFDF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2F133DF4-2014-429D-BD4B-2A5B49E14D6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00E5A3AC-2287-4351-8386-E77B7445E4E9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30E29ABF-7C9F-49F1-AC14-52A304EC3B89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21C07962-6387-434C-B13F-C0D659D241F1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8753C6F0-B6C8-4678-92E8-782653D51BC1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8C8157AD-9353-490E-B913-CC4DBC7332DE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06E2B-957B-40AC-A8BF-AD598EEA74BF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F2E50635-04CF-4C8A-8894-D51DE9CDB59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8842C822-B096-459F-8761-4C8CB689338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9A285D31-F743-45A0-A02A-F4CB7A5D939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A7DEFD86-1F8D-477E-8EE2-343BB18800AD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49F61D60-E604-40CE-A735-F7B35C96F580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40F65E5B-D8A7-42FA-97A4-5E84FE7A791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3DDD7588-26FB-41F4-A11A-04C9C72F49F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BFD8502A-E9E4-4E89-BA99-2997B2AACBD5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1FE53A18-EAA1-4293-A010-40D8E4C13072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16A7B38-8FF5-4FA0-9B07-7E3CAE63709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9229B6E-41F0-4A13-927B-1E1824E2649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46" name="Oval 45">
            <a:extLst>
              <a:ext uri="{FF2B5EF4-FFF2-40B4-BE49-F238E27FC236}">
                <a16:creationId xmlns="" xmlns:a16="http://schemas.microsoft.com/office/drawing/2014/main" id="{B525381D-DD77-499C-9108-5A7D9B9F8BB6}"/>
              </a:ext>
            </a:extLst>
          </p:cNvPr>
          <p:cNvSpPr/>
          <p:nvPr userDrawn="1"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="" xmlns:a16="http://schemas.microsoft.com/office/drawing/2014/main" id="{636942FC-9017-413E-B086-E019482B74EF}"/>
              </a:ext>
            </a:extLst>
          </p:cNvPr>
          <p:cNvSpPr/>
          <p:nvPr userDrawn="1"/>
        </p:nvSpPr>
        <p:spPr>
          <a:xfrm>
            <a:off x="3822338" y="2521047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482F933E-0A65-400E-894E-A4F0E8EF9AF0}"/>
              </a:ext>
            </a:extLst>
          </p:cNvPr>
          <p:cNvSpPr/>
          <p:nvPr userDrawn="1"/>
        </p:nvSpPr>
        <p:spPr>
          <a:xfrm>
            <a:off x="3822338" y="3286859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="" xmlns:a16="http://schemas.microsoft.com/office/drawing/2014/main" id="{FFECADC7-C3E6-4122-BA61-DF55FE886F6C}"/>
              </a:ext>
            </a:extLst>
          </p:cNvPr>
          <p:cNvSpPr/>
          <p:nvPr userDrawn="1"/>
        </p:nvSpPr>
        <p:spPr>
          <a:xfrm>
            <a:off x="3822338" y="4017493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="" xmlns:a16="http://schemas.microsoft.com/office/drawing/2014/main" id="{2A8D4183-3978-4DAC-9032-6AA130CA5302}"/>
              </a:ext>
            </a:extLst>
          </p:cNvPr>
          <p:cNvCxnSpPr/>
          <p:nvPr userDrawn="1"/>
        </p:nvCxnSpPr>
        <p:spPr>
          <a:xfrm>
            <a:off x="4735629" y="2502945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="" xmlns:a16="http://schemas.microsoft.com/office/drawing/2014/main" id="{C5C18DAD-20EE-4617-8570-2B74428E04D3}"/>
              </a:ext>
            </a:extLst>
          </p:cNvPr>
          <p:cNvCxnSpPr/>
          <p:nvPr userDrawn="1"/>
        </p:nvCxnSpPr>
        <p:spPr>
          <a:xfrm>
            <a:off x="4735629" y="3242381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="" xmlns:a16="http://schemas.microsoft.com/office/drawing/2014/main" id="{F5B0828A-1B67-4212-A015-1640EC039D41}"/>
              </a:ext>
            </a:extLst>
          </p:cNvPr>
          <p:cNvCxnSpPr/>
          <p:nvPr userDrawn="1"/>
        </p:nvCxnSpPr>
        <p:spPr>
          <a:xfrm>
            <a:off x="4735629" y="3999391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2">
            <a:extLst>
              <a:ext uri="{FF2B5EF4-FFF2-40B4-BE49-F238E27FC236}">
                <a16:creationId xmlns="" xmlns:a16="http://schemas.microsoft.com/office/drawing/2014/main" id="{0884A60E-8C62-4B74-A442-F0B87E8D190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Text Placeholder 81">
            <a:extLst>
              <a:ext uri="{FF2B5EF4-FFF2-40B4-BE49-F238E27FC236}">
                <a16:creationId xmlns="" xmlns:a16="http://schemas.microsoft.com/office/drawing/2014/main" id="{71BC4695-2462-4700-883F-D7296AF014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="" xmlns:a16="http://schemas.microsoft.com/office/drawing/2014/main" id="{37C8CA5B-95F6-45E7-86FE-FE0AC6D1BB5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674741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Text Placeholder 81">
            <a:extLst>
              <a:ext uri="{FF2B5EF4-FFF2-40B4-BE49-F238E27FC236}">
                <a16:creationId xmlns="" xmlns:a16="http://schemas.microsoft.com/office/drawing/2014/main" id="{EBF21DB6-013B-4A30-A448-84C47FBE14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642297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63" name="Text Placeholder 81">
            <a:extLst>
              <a:ext uri="{FF2B5EF4-FFF2-40B4-BE49-F238E27FC236}">
                <a16:creationId xmlns="" xmlns:a16="http://schemas.microsoft.com/office/drawing/2014/main" id="{5042647F-0EF1-47B6-8258-DFB9D6DB5E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408109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65" name="Text Placeholder 81">
            <a:extLst>
              <a:ext uri="{FF2B5EF4-FFF2-40B4-BE49-F238E27FC236}">
                <a16:creationId xmlns="" xmlns:a16="http://schemas.microsoft.com/office/drawing/2014/main" id="{ACA82C19-0D23-4B51-A834-6E6638B2C7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138743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="" xmlns:a16="http://schemas.microsoft.com/office/drawing/2014/main" id="{A3041FC3-A0B5-4059-AC11-5EA1EFE48D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440553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="" xmlns:a16="http://schemas.microsoft.com/office/drawing/2014/main" id="{390F03DD-5CDB-4A75-ACF5-D175730C94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171187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Oval 71">
            <a:extLst>
              <a:ext uri="{FF2B5EF4-FFF2-40B4-BE49-F238E27FC236}">
                <a16:creationId xmlns="" xmlns:a16="http://schemas.microsoft.com/office/drawing/2014/main" id="{B6490434-5430-4019-BDFE-5D65553036DE}"/>
              </a:ext>
            </a:extLst>
          </p:cNvPr>
          <p:cNvSpPr/>
          <p:nvPr userDrawn="1"/>
        </p:nvSpPr>
        <p:spPr>
          <a:xfrm>
            <a:off x="3816617" y="4819334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="" xmlns:a16="http://schemas.microsoft.com/office/drawing/2014/main" id="{706CC06A-4368-413F-A17A-E6053B6A8090}"/>
              </a:ext>
            </a:extLst>
          </p:cNvPr>
          <p:cNvCxnSpPr/>
          <p:nvPr userDrawn="1"/>
        </p:nvCxnSpPr>
        <p:spPr>
          <a:xfrm>
            <a:off x="4729908" y="4801232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 Placeholder 81">
            <a:extLst>
              <a:ext uri="{FF2B5EF4-FFF2-40B4-BE49-F238E27FC236}">
                <a16:creationId xmlns="" xmlns:a16="http://schemas.microsoft.com/office/drawing/2014/main" id="{FAD27422-488C-4A4C-B03D-111856B3FEC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32042" y="494058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5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="" xmlns:a16="http://schemas.microsoft.com/office/drawing/2014/main" id="{96FB4C3F-B6FC-4E0E-B335-0911DAA55F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55393" y="4973028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17810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0" y="-1"/>
            <a:ext cx="6024506" cy="6858001"/>
            <a:chOff x="0" y="-1"/>
            <a:chExt cx="6024506" cy="6858001"/>
          </a:xfrm>
        </p:grpSpPr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0" y="1448048"/>
            <a:ext cx="7453981" cy="4397559"/>
          </a:xfrm>
          <a:prstGeom prst="rect">
            <a:avLst/>
          </a:pr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22338" y="3382699"/>
            <a:ext cx="673996" cy="68564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22338" y="4931020"/>
            <a:ext cx="673996" cy="685646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35629" y="2951356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35629" y="4508469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3536393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3503949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5052270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5084714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92" name="Graphic 4">
            <a:extLst>
              <a:ext uri="{FF2B5EF4-FFF2-40B4-BE49-F238E27FC236}">
                <a16:creationId xmlns="" xmlns:a16="http://schemas.microsoft.com/office/drawing/2014/main" id="{CD5448FB-AA87-476F-A467-5C91125ECFDF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2F133DF4-2014-429D-BD4B-2A5B49E14D6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00E5A3AC-2287-4351-8386-E77B7445E4E9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30E29ABF-7C9F-49F1-AC14-52A304EC3B89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21C07962-6387-434C-B13F-C0D659D241F1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8753C6F0-B6C8-4678-92E8-782653D51BC1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8C8157AD-9353-490E-B913-CC4DBC7332DE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06E2B-957B-40AC-A8BF-AD598EEA74BF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F2E50635-04CF-4C8A-8894-D51DE9CDB59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8842C822-B096-459F-8761-4C8CB689338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9A285D31-F743-45A0-A02A-F4CB7A5D939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A7DEFD86-1F8D-477E-8EE2-343BB18800AD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49F61D60-E604-40CE-A735-F7B35C96F580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40F65E5B-D8A7-42FA-97A4-5E84FE7A791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3DDD7588-26FB-41F4-A11A-04C9C72F49F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BFD8502A-E9E4-4E89-BA99-2997B2AACBD5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1FE53A18-EAA1-4293-A010-40D8E4C13072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16A7B38-8FF5-4FA0-9B07-7E3CAE63709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9229B6E-41F0-4A13-927B-1E1824E2649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08149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27688547-0AE5-4951-9CB6-DAB32E08ED3E}"/>
              </a:ext>
            </a:extLst>
          </p:cNvPr>
          <p:cNvSpPr/>
          <p:nvPr userDrawn="1"/>
        </p:nvSpPr>
        <p:spPr>
          <a:xfrm>
            <a:off x="1254412" y="1770138"/>
            <a:ext cx="10358824" cy="3766271"/>
          </a:xfrm>
          <a:prstGeom prst="rect">
            <a:avLst/>
          </a:prstGeom>
          <a:gradFill flip="none" rotWithShape="1">
            <a:gsLst>
              <a:gs pos="86000">
                <a:srgbClr val="023386"/>
              </a:gs>
              <a:gs pos="0">
                <a:schemeClr val="tx1"/>
              </a:gs>
            </a:gsLst>
            <a:lin ang="0" scaled="0"/>
            <a:tileRect/>
          </a:gradFill>
          <a:ln>
            <a:noFill/>
          </a:ln>
          <a:effectLst>
            <a:outerShdw blurRad="2286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F9789DEC-04EA-4ACA-A36F-A326EB69E3F4}"/>
              </a:ext>
            </a:extLst>
          </p:cNvPr>
          <p:cNvSpPr/>
          <p:nvPr userDrawn="1"/>
        </p:nvSpPr>
        <p:spPr>
          <a:xfrm>
            <a:off x="595930" y="3018656"/>
            <a:ext cx="1247669" cy="1269235"/>
          </a:xfrm>
          <a:prstGeom prst="ellipse">
            <a:avLst/>
          </a:prstGeom>
          <a:solidFill>
            <a:schemeClr val="tx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="" xmlns:a16="http://schemas.microsoft.com/office/drawing/2014/main" id="{81261066-6461-40C8-9368-BDAE0B244B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10765" y="2865623"/>
            <a:ext cx="9027697" cy="1575300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60" name="Text Placeholder 81">
            <a:extLst>
              <a:ext uri="{FF2B5EF4-FFF2-40B4-BE49-F238E27FC236}">
                <a16:creationId xmlns="" xmlns:a16="http://schemas.microsoft.com/office/drawing/2014/main" id="{A9312E8A-8632-461B-811E-7B4E557C1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5708" y="3209219"/>
            <a:ext cx="888112" cy="888108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3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grpSp>
        <p:nvGrpSpPr>
          <p:cNvPr id="61" name="Graphic 347">
            <a:extLst>
              <a:ext uri="{FF2B5EF4-FFF2-40B4-BE49-F238E27FC236}">
                <a16:creationId xmlns="" xmlns:a16="http://schemas.microsoft.com/office/drawing/2014/main" id="{F4088751-9B0D-4AB0-BD71-2318CF9F6749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chemeClr val="tx2"/>
          </a:solidFill>
        </p:grpSpPr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CD53847C-A343-4AD8-AE3E-ED8CA2A3EFC1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FCE766D4-5A69-4146-B98E-DFD948C6EEF1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E4E78254-F031-449D-B4B7-42FA11B592CB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8EE6E027-604F-4967-B9F1-8A3337A36085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B9A97006-E02C-4196-8EBF-422492029671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="" xmlns:a16="http://schemas.microsoft.com/office/drawing/2014/main" id="{7B3A8559-9623-4877-8EF7-13DC8A8AC081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="" xmlns:a16="http://schemas.microsoft.com/office/drawing/2014/main" id="{8CA07576-6BBF-475C-B45C-4FBF135119F0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="" xmlns:a16="http://schemas.microsoft.com/office/drawing/2014/main" id="{2A725359-EC87-4AA4-9937-FDBBA9C446E6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="" xmlns:a16="http://schemas.microsoft.com/office/drawing/2014/main" id="{99878E88-CA5A-490D-9E67-CBA439E6E202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="" xmlns:a16="http://schemas.microsoft.com/office/drawing/2014/main" id="{44662999-C7C0-474A-B1E3-DEC76B3846D1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="" xmlns:a16="http://schemas.microsoft.com/office/drawing/2014/main" id="{2B325F7F-CDFD-4BF0-9A58-30879304F651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="" xmlns:a16="http://schemas.microsoft.com/office/drawing/2014/main" id="{5E914BCC-4C99-4FEB-9AFB-DD6FA8454981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="" xmlns:a16="http://schemas.microsoft.com/office/drawing/2014/main" id="{AF433652-DA8C-44F1-BC22-63EA788D3141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="" xmlns:a16="http://schemas.microsoft.com/office/drawing/2014/main" id="{C3A525D4-F0E6-4A9D-8F10-13122A155BF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E231CD25-DBAB-4062-8615-ACE4F07547E4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1614662C-10A4-4DFA-8F07-B30F868B301B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7748BF2-C1B1-4887-B555-DF854BC495C6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lide Number Placeholder 5">
            <a:extLst>
              <a:ext uri="{FF2B5EF4-FFF2-40B4-BE49-F238E27FC236}">
                <a16:creationId xmlns="" xmlns:a16="http://schemas.microsoft.com/office/drawing/2014/main" id="{2A502D54-CC0F-B690-B255-C67D89128DD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A7BD21BB-964B-4A26-91E2-D4BE544E7BCF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820122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Colom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>
            <a:extLst>
              <a:ext uri="{FF2B5EF4-FFF2-40B4-BE49-F238E27FC236}">
                <a16:creationId xmlns="" xmlns:a16="http://schemas.microsoft.com/office/drawing/2014/main" id="{2FA45607-9172-400B-84A3-269446FFF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CB43B0D9-9DA8-4D27-A3D9-A1BEF53C60B2}"/>
              </a:ext>
            </a:extLst>
          </p:cNvPr>
          <p:cNvSpPr txBox="1"/>
          <p:nvPr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7625C1B-6A83-42C6-9F6C-A611FC493B1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FBEC8FB0-A2C0-4842-9B78-42C7ED3EAF72}"/>
              </a:ext>
            </a:extLst>
          </p:cNvPr>
          <p:cNvSpPr txBox="1"/>
          <p:nvPr userDrawn="1"/>
        </p:nvSpPr>
        <p:spPr>
          <a:xfrm>
            <a:off x="848978" y="6321605"/>
            <a:ext cx="41678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="" xmlns:a16="http://schemas.microsoft.com/office/drawing/2014/main" id="{4A4CCFA1-64B0-4D04-9582-DE2DB294A8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825625"/>
            <a:ext cx="11017250" cy="41846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2000" b="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68288" lvl="0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grpSp>
        <p:nvGrpSpPr>
          <p:cNvPr id="49" name="Graphic 4">
            <a:extLst>
              <a:ext uri="{FF2B5EF4-FFF2-40B4-BE49-F238E27FC236}">
                <a16:creationId xmlns="" xmlns:a16="http://schemas.microsoft.com/office/drawing/2014/main" id="{BD7821E1-06B2-45ED-8F16-1A1FAD4ADC56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AE36E163-B4F2-4BA9-AD40-A824A9737E9F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332E1597-367C-4D15-B3C9-38E8F55BCCFD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D61DDD98-0DDE-4209-A5E2-142CC1957D63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0E0818F3-0B46-4BA7-8839-052FCB4BBEBD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="" xmlns:a16="http://schemas.microsoft.com/office/drawing/2014/main" id="{11B9B26B-9364-4A33-8FF9-5D8E19CC49C9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="" xmlns:a16="http://schemas.microsoft.com/office/drawing/2014/main" id="{544F662B-A45B-4971-93A7-16E1645256A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="" xmlns:a16="http://schemas.microsoft.com/office/drawing/2014/main" id="{46B5623A-D7DB-4E14-A0CF-485222AD8E1C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="" xmlns:a16="http://schemas.microsoft.com/office/drawing/2014/main" id="{3E216F48-437F-4B4E-B368-20BBCC66475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="" xmlns:a16="http://schemas.microsoft.com/office/drawing/2014/main" id="{AE3CE3ED-03C0-433F-9136-EB1D75038E6C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="" xmlns:a16="http://schemas.microsoft.com/office/drawing/2014/main" id="{8A817748-7C53-41F8-89B0-303D914F12A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="" xmlns:a16="http://schemas.microsoft.com/office/drawing/2014/main" id="{F3AE166B-A0DD-43DE-A71B-7852D3899D0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="" xmlns:a16="http://schemas.microsoft.com/office/drawing/2014/main" id="{ED85D8CD-1D57-413F-90D2-2BEDDBC1E76F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A871514A-A5BD-449E-B417-9236B570FF8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54F32C1C-FD9F-4B0E-A3FA-87447EC055BB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C1010C80-9ECA-406E-A3B0-A49CEE316457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BF1969CA-91FF-442B-B693-5EA9AB62AF81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E9678C22-5874-46AF-ABCC-8298DEDCDD2E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6" name="Slide Number Placeholder 5">
            <a:extLst>
              <a:ext uri="{FF2B5EF4-FFF2-40B4-BE49-F238E27FC236}">
                <a16:creationId xmlns="" xmlns:a16="http://schemas.microsoft.com/office/drawing/2014/main" id="{35CD99DB-F165-A767-3AAB-743DF42BD916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9697632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nd Colom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>
            <a:extLst>
              <a:ext uri="{FF2B5EF4-FFF2-40B4-BE49-F238E27FC236}">
                <a16:creationId xmlns="" xmlns:a16="http://schemas.microsoft.com/office/drawing/2014/main" id="{2FA45607-9172-400B-84A3-269446FFF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CB43B0D9-9DA8-4D27-A3D9-A1BEF53C60B2}"/>
              </a:ext>
            </a:extLst>
          </p:cNvPr>
          <p:cNvSpPr txBox="1"/>
          <p:nvPr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7625C1B-6A83-42C6-9F6C-A611FC493B1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FBEC8FB0-A2C0-4842-9B78-42C7ED3EAF72}"/>
              </a:ext>
            </a:extLst>
          </p:cNvPr>
          <p:cNvSpPr txBox="1"/>
          <p:nvPr userDrawn="1"/>
        </p:nvSpPr>
        <p:spPr>
          <a:xfrm>
            <a:off x="848978" y="6321605"/>
            <a:ext cx="41678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grpSp>
        <p:nvGrpSpPr>
          <p:cNvPr id="49" name="Graphic 4">
            <a:extLst>
              <a:ext uri="{FF2B5EF4-FFF2-40B4-BE49-F238E27FC236}">
                <a16:creationId xmlns="" xmlns:a16="http://schemas.microsoft.com/office/drawing/2014/main" id="{BD7821E1-06B2-45ED-8F16-1A1FAD4ADC56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AE36E163-B4F2-4BA9-AD40-A824A9737E9F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332E1597-367C-4D15-B3C9-38E8F55BCCFD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D61DDD98-0DDE-4209-A5E2-142CC1957D63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0E0818F3-0B46-4BA7-8839-052FCB4BBEBD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="" xmlns:a16="http://schemas.microsoft.com/office/drawing/2014/main" id="{11B9B26B-9364-4A33-8FF9-5D8E19CC49C9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="" xmlns:a16="http://schemas.microsoft.com/office/drawing/2014/main" id="{544F662B-A45B-4971-93A7-16E1645256A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="" xmlns:a16="http://schemas.microsoft.com/office/drawing/2014/main" id="{46B5623A-D7DB-4E14-A0CF-485222AD8E1C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="" xmlns:a16="http://schemas.microsoft.com/office/drawing/2014/main" id="{3E216F48-437F-4B4E-B368-20BBCC66475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="" xmlns:a16="http://schemas.microsoft.com/office/drawing/2014/main" id="{AE3CE3ED-03C0-433F-9136-EB1D75038E6C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="" xmlns:a16="http://schemas.microsoft.com/office/drawing/2014/main" id="{8A817748-7C53-41F8-89B0-303D914F12A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="" xmlns:a16="http://schemas.microsoft.com/office/drawing/2014/main" id="{F3AE166B-A0DD-43DE-A71B-7852D3899D0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="" xmlns:a16="http://schemas.microsoft.com/office/drawing/2014/main" id="{ED85D8CD-1D57-413F-90D2-2BEDDBC1E76F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A871514A-A5BD-449E-B417-9236B570FF8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54F32C1C-FD9F-4B0E-A3FA-87447EC055BB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C1010C80-9ECA-406E-A3B0-A49CEE316457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BF1969CA-91FF-442B-B693-5EA9AB62AF81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E9678C22-5874-46AF-ABCC-8298DEDCDD2E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7" name="Table Placeholder 2">
            <a:extLst>
              <a:ext uri="{FF2B5EF4-FFF2-40B4-BE49-F238E27FC236}">
                <a16:creationId xmlns="" xmlns:a16="http://schemas.microsoft.com/office/drawing/2014/main" id="{084884DC-EB96-47F9-B702-81DA02E4AF7D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587374" y="1825625"/>
            <a:ext cx="11028773" cy="4264108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r Table Here</a:t>
            </a:r>
          </a:p>
        </p:txBody>
      </p:sp>
      <p:sp>
        <p:nvSpPr>
          <p:cNvPr id="26" name="Slide Number Placeholder 5">
            <a:extLst>
              <a:ext uri="{FF2B5EF4-FFF2-40B4-BE49-F238E27FC236}">
                <a16:creationId xmlns="" xmlns:a16="http://schemas.microsoft.com/office/drawing/2014/main" id="{946531B0-F015-9077-3338-169A48728CAA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1840440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2 Colo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Abstract background of dark mesh">
            <a:extLst>
              <a:ext uri="{FF2B5EF4-FFF2-40B4-BE49-F238E27FC236}">
                <a16:creationId xmlns="" xmlns:a16="http://schemas.microsoft.com/office/drawing/2014/main" id="{28AF84B7-5F5D-4A1B-93A7-5A1E227340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5899"/>
          <a:stretch/>
        </p:blipFill>
        <p:spPr>
          <a:xfrm>
            <a:off x="0" y="0"/>
            <a:ext cx="5376783" cy="685800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B0BFB2B8-CB60-4A25-9B9A-552CEE207872}"/>
              </a:ext>
            </a:extLst>
          </p:cNvPr>
          <p:cNvSpPr/>
          <p:nvPr userDrawn="1"/>
        </p:nvSpPr>
        <p:spPr>
          <a:xfrm>
            <a:off x="1" y="0"/>
            <a:ext cx="5376782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alpha val="90000"/>
                </a:schemeClr>
              </a:gs>
              <a:gs pos="8000">
                <a:schemeClr val="tx1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E3DC744E-7909-4768-98A2-E3DB38B69950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C48E660E-A1EB-4F83-ADD2-C4901AD8B2AC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|</a:t>
            </a:r>
          </a:p>
        </p:txBody>
      </p:sp>
      <p:sp>
        <p:nvSpPr>
          <p:cNvPr id="30" name="Title 1">
            <a:extLst>
              <a:ext uri="{FF2B5EF4-FFF2-40B4-BE49-F238E27FC236}">
                <a16:creationId xmlns="" xmlns:a16="http://schemas.microsoft.com/office/drawing/2014/main" id="{261A2602-A448-4000-B9F5-E972BA02E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161" y="1857375"/>
            <a:ext cx="4132885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4A35202B-7102-433E-A63B-E5CB910525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1663" y="2857212"/>
            <a:ext cx="4132262" cy="2341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None/>
              <a:defRPr lang="en-US" sz="2000" dirty="0" smtClean="0">
                <a:cs typeface="Arial" panose="020B0604020202020204" pitchFamily="34" charset="0"/>
              </a:defRPr>
            </a:lvl1pPr>
            <a:lvl2pPr>
              <a:defRPr lang="en-US" sz="1800" dirty="0" smtClean="0">
                <a:cs typeface="Arial" panose="020B0604020202020204" pitchFamily="34" charset="0"/>
              </a:defRPr>
            </a:lvl2pPr>
            <a:lvl3pPr>
              <a:defRPr lang="en-US" sz="1800" dirty="0" smtClean="0">
                <a:cs typeface="Arial" panose="020B0604020202020204" pitchFamily="34" charset="0"/>
              </a:defRPr>
            </a:lvl3pPr>
            <a:lvl4pPr>
              <a:defRPr lang="en-US" sz="1800" dirty="0" smtClean="0">
                <a:cs typeface="Arial" panose="020B0604020202020204" pitchFamily="34" charset="0"/>
              </a:defRPr>
            </a:lvl4pPr>
            <a:lvl5pPr>
              <a:defRPr lang="en-US" sz="1800" dirty="0">
                <a:cs typeface="Arial" panose="020B0604020202020204" pitchFamily="34" charset="0"/>
              </a:defRPr>
            </a:lvl5pPr>
          </a:lstStyle>
          <a:p>
            <a:pPr marL="269875" lvl="0" indent="-269875">
              <a:buChar char="•"/>
            </a:pPr>
            <a:r>
              <a:rPr lang="en-US" dirty="0"/>
              <a:t>Click to edit Master text styles</a:t>
            </a:r>
          </a:p>
          <a:p>
            <a:pPr marL="269875" lvl="0" indent="-269875">
              <a:buChar char="•"/>
            </a:pPr>
            <a:r>
              <a:rPr lang="en-US" dirty="0"/>
              <a:t>Click to edit Master text styles</a:t>
            </a:r>
          </a:p>
          <a:p>
            <a:pPr marL="269875" lvl="0" indent="-269875">
              <a:buChar char="•"/>
            </a:pPr>
            <a:endParaRPr lang="en-US" dirty="0"/>
          </a:p>
          <a:p>
            <a:pPr marL="269875" lvl="0" indent="-269875">
              <a:buChar char="•"/>
            </a:pP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0CE02ABE-699C-48EA-BD5E-E387999966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5999" y="1857375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B1E5DC32-39DF-472D-82D7-B95D3E1CF2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2260600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grpSp>
        <p:nvGrpSpPr>
          <p:cNvPr id="31" name="Graphic 4">
            <a:extLst>
              <a:ext uri="{FF2B5EF4-FFF2-40B4-BE49-F238E27FC236}">
                <a16:creationId xmlns="" xmlns:a16="http://schemas.microsoft.com/office/drawing/2014/main" id="{CCA6F3DD-59BC-447C-945F-4124532BDC98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E3DE0B3D-E558-4210-A481-96FDA918334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2501C881-F6FC-48C6-98DE-623B84FBF4B8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="" xmlns:a16="http://schemas.microsoft.com/office/drawing/2014/main" id="{0CB3995A-FFBF-44C1-BDA7-D4F601D5C41C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="" xmlns:a16="http://schemas.microsoft.com/office/drawing/2014/main" id="{F064C706-53EE-47BD-B3FD-E51553153F7B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="" xmlns:a16="http://schemas.microsoft.com/office/drawing/2014/main" id="{1D8C43F8-2521-43D6-B15E-0F4139926805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932ADA34-16B1-4A23-83F7-081946ACEA3B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6F94610B-729A-48DD-B1C8-C20F3A5ABB28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616C8215-6A42-446F-9B4B-EC267DBB9256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51049916-D264-4BBD-80A6-F89BF710FF81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E985B187-F034-4D2B-BBC8-1F2C9D8238D6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DA12CA23-5E66-4BA9-A2A0-D78E5ED29C2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101AB42D-3A5F-448C-922E-D69402D92FFB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9A58B700-B29B-47B9-9861-BE598A78BE91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02C3101D-774C-47D6-8F73-F0E023A8AEAE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134510B6-47E9-44F4-AF99-24C04F5E3B4E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2923A981-1FF1-4AD6-9F9B-B11365F486E9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81C92CC9-73EF-4803-90AC-B1438675AC71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4" name="Text Placeholder 7">
            <a:extLst>
              <a:ext uri="{FF2B5EF4-FFF2-40B4-BE49-F238E27FC236}">
                <a16:creationId xmlns="" xmlns:a16="http://schemas.microsoft.com/office/drawing/2014/main" id="{9F411682-9FB1-4A69-A59F-2507A4AF57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5999" y="3249818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="" xmlns:a16="http://schemas.microsoft.com/office/drawing/2014/main" id="{E4C2B96B-859F-450F-9B42-26EA9C3D88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0" y="3653043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="" xmlns:a16="http://schemas.microsoft.com/office/drawing/2014/main" id="{219474BE-7E16-46E2-8679-F9D74DD6B9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5999" y="4642395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="" xmlns:a16="http://schemas.microsoft.com/office/drawing/2014/main" id="{0A0CD383-0FC2-45EC-A342-0D911FEDA6D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00" y="5045620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58" name="Slide Number Placeholder 5">
            <a:extLst>
              <a:ext uri="{FF2B5EF4-FFF2-40B4-BE49-F238E27FC236}">
                <a16:creationId xmlns="" xmlns:a16="http://schemas.microsoft.com/office/drawing/2014/main" id="{DEA60667-698F-68C3-4B4A-3BB18334AD98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783D91B9-9C10-4294-AB5A-5142175327E9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21595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-5422" y="-1"/>
            <a:ext cx="12202845" cy="6858001"/>
            <a:chOff x="-5422" y="-1"/>
            <a:chExt cx="12202845" cy="6858001"/>
          </a:xfrm>
        </p:grpSpPr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71CE65C7-95A7-4DBD-B251-C224DC2CEB5D}"/>
                </a:ext>
              </a:extLst>
            </p:cNvPr>
            <p:cNvSpPr/>
            <p:nvPr userDrawn="1"/>
          </p:nvSpPr>
          <p:spPr>
            <a:xfrm>
              <a:off x="-5422" y="0"/>
              <a:ext cx="12202845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003285"/>
            </a:soli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tx2"/>
                </a:gs>
                <a:gs pos="0">
                  <a:schemeClr val="tx2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0" name="Graphic 59">
            <a:extLst>
              <a:ext uri="{FF2B5EF4-FFF2-40B4-BE49-F238E27FC236}">
                <a16:creationId xmlns="" xmlns:a16="http://schemas.microsoft.com/office/drawing/2014/main" id="{E4513AC4-5905-4072-BD5B-94A07FD3F9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423" y="-1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1" y="1448048"/>
            <a:ext cx="7236795" cy="439755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22338" y="2802404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22338" y="3805602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45F5CE12-49DA-41BD-A042-DDF73CDA1192}"/>
              </a:ext>
            </a:extLst>
          </p:cNvPr>
          <p:cNvSpPr/>
          <p:nvPr/>
        </p:nvSpPr>
        <p:spPr>
          <a:xfrm>
            <a:off x="3822338" y="4808802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35629" y="2643628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35629" y="3646826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="" xmlns:a16="http://schemas.microsoft.com/office/drawing/2014/main" id="{5F579A53-D4B9-4100-AC81-BA07F5474308}"/>
              </a:ext>
            </a:extLst>
          </p:cNvPr>
          <p:cNvCxnSpPr/>
          <p:nvPr userDrawn="1"/>
        </p:nvCxnSpPr>
        <p:spPr>
          <a:xfrm>
            <a:off x="4735629" y="4650024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956098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92365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9268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8" name="Text Placeholder 81">
            <a:extLst>
              <a:ext uri="{FF2B5EF4-FFF2-40B4-BE49-F238E27FC236}">
                <a16:creationId xmlns="" xmlns:a16="http://schemas.microsoft.com/office/drawing/2014/main" id="{36BD41E2-2AE9-440C-8339-F4869A3125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9300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959296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="" xmlns:a16="http://schemas.microsoft.com/office/drawing/2014/main" id="{464CCEC9-2CCD-47D0-BC2E-5256B144D5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962496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Slide Number Placeholder 5">
            <a:extLst>
              <a:ext uri="{FF2B5EF4-FFF2-40B4-BE49-F238E27FC236}">
                <a16:creationId xmlns="" xmlns:a16="http://schemas.microsoft.com/office/drawing/2014/main" id="{9CC29561-E6FE-2E94-E278-48E791DC776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2B03F98C-33A1-4D95-8E60-2D816F2335CD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</p:spTree>
    <p:extLst>
      <p:ext uri="{BB962C8B-B14F-4D97-AF65-F5344CB8AC3E}">
        <p14:creationId xmlns:p14="http://schemas.microsoft.com/office/powerpoint/2010/main" val="3289053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2 Colo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C369B7AA-E5B8-4E48-8CF6-0CE74A53E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416" r="3758"/>
          <a:stretch/>
        </p:blipFill>
        <p:spPr>
          <a:xfrm>
            <a:off x="6724650" y="0"/>
            <a:ext cx="5467350" cy="6858000"/>
          </a:xfrm>
          <a:custGeom>
            <a:avLst/>
            <a:gdLst>
              <a:gd name="connsiteX0" fmla="*/ 0 w 4063708"/>
              <a:gd name="connsiteY0" fmla="*/ 0 h 6858000"/>
              <a:gd name="connsiteX1" fmla="*/ 4063708 w 4063708"/>
              <a:gd name="connsiteY1" fmla="*/ 0 h 6858000"/>
              <a:gd name="connsiteX2" fmla="*/ 4063708 w 4063708"/>
              <a:gd name="connsiteY2" fmla="*/ 6858000 h 6858000"/>
              <a:gd name="connsiteX3" fmla="*/ 0 w 40637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708" h="6858000">
                <a:moveTo>
                  <a:pt x="0" y="0"/>
                </a:moveTo>
                <a:lnTo>
                  <a:pt x="4063708" y="0"/>
                </a:lnTo>
                <a:lnTo>
                  <a:pt x="406370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D716A490-30CB-43C9-A18E-4E3320ED3F3E}"/>
              </a:ext>
            </a:extLst>
          </p:cNvPr>
          <p:cNvSpPr/>
          <p:nvPr userDrawn="1"/>
        </p:nvSpPr>
        <p:spPr>
          <a:xfrm>
            <a:off x="6724650" y="0"/>
            <a:ext cx="546735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3000">
                <a:schemeClr val="tx1">
                  <a:alpha val="90000"/>
                </a:schemeClr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="" xmlns:a16="http://schemas.microsoft.com/office/drawing/2014/main" id="{71F05EEC-A4C3-4204-8F43-901886EB3A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003" y="2437838"/>
            <a:ext cx="5502995" cy="443198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tle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="" xmlns:a16="http://schemas.microsoft.com/office/drawing/2014/main" id="{4B140DE2-9CDE-4B79-BBAF-9420832BF7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72" y="3104965"/>
            <a:ext cx="5509827" cy="3168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="" xmlns:a16="http://schemas.microsoft.com/office/drawing/2014/main" id="{BD17BE1E-2E4A-4767-8A95-7227BAC1D96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320136" y="3104965"/>
            <a:ext cx="4295004" cy="3168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="" xmlns:a16="http://schemas.microsoft.com/office/drawing/2014/main" id="{CF23703C-C834-459F-834F-48D6F441B0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0823" y="2437838"/>
            <a:ext cx="4295004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200" b="1" i="0" dirty="0" smtClean="0">
                <a:solidFill>
                  <a:schemeClr val="bg1"/>
                </a:solidFill>
                <a:ea typeface="+mj-ea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add tittle</a:t>
            </a:r>
          </a:p>
        </p:txBody>
      </p:sp>
      <p:grpSp>
        <p:nvGrpSpPr>
          <p:cNvPr id="61" name="Graphic 4">
            <a:extLst>
              <a:ext uri="{FF2B5EF4-FFF2-40B4-BE49-F238E27FC236}">
                <a16:creationId xmlns="" xmlns:a16="http://schemas.microsoft.com/office/drawing/2014/main" id="{86BAC7C0-0658-4A9B-9DF3-5423A0464A5B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81E9CDE4-F361-4A35-9B38-04E37D4FA433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916F645E-DBDC-4652-98AA-87005BCBCF23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A073E981-CEE9-4B3D-B89C-00BA2A327082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03FBDCA4-BCF1-49EB-88FD-B87E605527E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CA0CEB69-6224-496D-B8D4-DB78A8D287BE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="" xmlns:a16="http://schemas.microsoft.com/office/drawing/2014/main" id="{2761A588-5D40-4BD9-85DF-7E30790F5393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="" xmlns:a16="http://schemas.microsoft.com/office/drawing/2014/main" id="{52081C0C-25C3-4F3E-9011-9282810828D6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="" xmlns:a16="http://schemas.microsoft.com/office/drawing/2014/main" id="{23677D3F-82B8-4EDC-AF22-64E619D5D397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="" xmlns:a16="http://schemas.microsoft.com/office/drawing/2014/main" id="{9A981D9D-EC08-49FE-9A4B-088B0E3CD570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="" xmlns:a16="http://schemas.microsoft.com/office/drawing/2014/main" id="{9E4C977F-26AC-4BC4-BFCB-0E94D7547E20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="" xmlns:a16="http://schemas.microsoft.com/office/drawing/2014/main" id="{8911742D-097B-45D5-B417-5268AF954232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="" xmlns:a16="http://schemas.microsoft.com/office/drawing/2014/main" id="{6B3EAEC8-5AAE-45A4-90B4-477E839F72F1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="" xmlns:a16="http://schemas.microsoft.com/office/drawing/2014/main" id="{66652BBB-A2D5-4B40-AE30-0F13BD71A176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="" xmlns:a16="http://schemas.microsoft.com/office/drawing/2014/main" id="{4AE32264-7C62-4E8B-82F5-9198C2D3ADF0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CB8D7A1D-DCAA-4AEF-8454-0B26202CFE4B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3B69010D-D957-4D35-9F73-556B92F0A386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0D9C1E25-8ABD-4303-93D7-451DE54BEF65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7625C1B-6A83-42C6-9F6C-A611FC493B1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E3DC744E-7909-4768-98A2-E3DB38B69950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C48E660E-A1EB-4F83-ADD2-C4901AD8B2AC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srgbClr val="231F20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|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="" xmlns:a16="http://schemas.microsoft.com/office/drawing/2014/main" id="{C5F2E1BD-FFA4-6D0D-75EB-BA3D4FD6069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0542929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o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: Shape 53">
            <a:extLst>
              <a:ext uri="{FF2B5EF4-FFF2-40B4-BE49-F238E27FC236}">
                <a16:creationId xmlns="" xmlns:a16="http://schemas.microsoft.com/office/drawing/2014/main" id="{424E3B04-F332-4A9D-AE78-F84E934EEF2C}"/>
              </a:ext>
            </a:extLst>
          </p:cNvPr>
          <p:cNvSpPr/>
          <p:nvPr userDrawn="1"/>
        </p:nvSpPr>
        <p:spPr>
          <a:xfrm rot="5400000">
            <a:off x="5316902" y="-4155048"/>
            <a:ext cx="1558193" cy="12192001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96599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1"/>
            <a:tileRect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6" name="Oval 35">
            <a:extLst>
              <a:ext uri="{FF2B5EF4-FFF2-40B4-BE49-F238E27FC236}">
                <a16:creationId xmlns="" xmlns:a16="http://schemas.microsoft.com/office/drawing/2014/main" id="{8EB60838-D8F1-4D34-B4DE-A4B5CE64CA7B}"/>
              </a:ext>
            </a:extLst>
          </p:cNvPr>
          <p:cNvSpPr/>
          <p:nvPr userDrawn="1"/>
        </p:nvSpPr>
        <p:spPr>
          <a:xfrm>
            <a:off x="1690788" y="1996355"/>
            <a:ext cx="1270636" cy="1269072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CD83E058-6F5B-4B66-B277-4902C7ED5619}"/>
              </a:ext>
            </a:extLst>
          </p:cNvPr>
          <p:cNvSpPr/>
          <p:nvPr userDrawn="1"/>
        </p:nvSpPr>
        <p:spPr>
          <a:xfrm>
            <a:off x="9240101" y="1996355"/>
            <a:ext cx="1270636" cy="1269072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307DA787-3E29-49F6-AA27-E67BFB0B53ED}"/>
              </a:ext>
            </a:extLst>
          </p:cNvPr>
          <p:cNvSpPr/>
          <p:nvPr userDrawn="1"/>
        </p:nvSpPr>
        <p:spPr>
          <a:xfrm>
            <a:off x="5465444" y="1996355"/>
            <a:ext cx="1270636" cy="1269072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="" xmlns:a16="http://schemas.microsoft.com/office/drawing/2014/main" id="{B50C4A29-36E4-4505-BDBF-35AC80A3BBFB}"/>
              </a:ext>
            </a:extLst>
          </p:cNvPr>
          <p:cNvCxnSpPr>
            <a:cxnSpLocks/>
          </p:cNvCxnSpPr>
          <p:nvPr userDrawn="1"/>
        </p:nvCxnSpPr>
        <p:spPr>
          <a:xfrm>
            <a:off x="587374" y="5882242"/>
            <a:ext cx="11017238" cy="0"/>
          </a:xfrm>
          <a:prstGeom prst="line">
            <a:avLst/>
          </a:prstGeom>
          <a:ln w="31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Diagonal Corners Rounded 58">
            <a:extLst>
              <a:ext uri="{FF2B5EF4-FFF2-40B4-BE49-F238E27FC236}">
                <a16:creationId xmlns="" xmlns:a16="http://schemas.microsoft.com/office/drawing/2014/main" id="{4A7EA79B-750E-4451-9EB2-A4A922286213}"/>
              </a:ext>
            </a:extLst>
          </p:cNvPr>
          <p:cNvSpPr/>
          <p:nvPr userDrawn="1"/>
        </p:nvSpPr>
        <p:spPr>
          <a:xfrm>
            <a:off x="596900" y="2635321"/>
            <a:ext cx="3458413" cy="3162193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0" name="Rectangle: Diagonal Corners Rounded 59">
            <a:extLst>
              <a:ext uri="{FF2B5EF4-FFF2-40B4-BE49-F238E27FC236}">
                <a16:creationId xmlns="" xmlns:a16="http://schemas.microsoft.com/office/drawing/2014/main" id="{FC97A4C4-961B-41AE-983C-54FBAD645431}"/>
              </a:ext>
            </a:extLst>
          </p:cNvPr>
          <p:cNvSpPr/>
          <p:nvPr userDrawn="1"/>
        </p:nvSpPr>
        <p:spPr>
          <a:xfrm>
            <a:off x="4371556" y="2635321"/>
            <a:ext cx="3458413" cy="3162193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1" name="Rectangle: Diagonal Corners Rounded 60">
            <a:extLst>
              <a:ext uri="{FF2B5EF4-FFF2-40B4-BE49-F238E27FC236}">
                <a16:creationId xmlns="" xmlns:a16="http://schemas.microsoft.com/office/drawing/2014/main" id="{CEB84216-5DB0-4161-ACE1-2183FBB7BCB6}"/>
              </a:ext>
            </a:extLst>
          </p:cNvPr>
          <p:cNvSpPr/>
          <p:nvPr userDrawn="1"/>
        </p:nvSpPr>
        <p:spPr>
          <a:xfrm>
            <a:off x="8146213" y="2635321"/>
            <a:ext cx="3458413" cy="3162193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6" name="Text Placeholder 71">
            <a:extLst>
              <a:ext uri="{FF2B5EF4-FFF2-40B4-BE49-F238E27FC236}">
                <a16:creationId xmlns="" xmlns:a16="http://schemas.microsoft.com/office/drawing/2014/main" id="{FC29CB43-D2B1-4CC0-BE79-91CC5F99E3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7981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7" name="Text Placeholder 73">
            <a:extLst>
              <a:ext uri="{FF2B5EF4-FFF2-40B4-BE49-F238E27FC236}">
                <a16:creationId xmlns="" xmlns:a16="http://schemas.microsoft.com/office/drawing/2014/main" id="{2DFB4D47-FB01-4EA5-AC66-F352CBE2EB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7981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="" xmlns:a16="http://schemas.microsoft.com/office/drawing/2014/main" id="{3A08ACF7-7E28-404A-A151-581344786E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32637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3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="" xmlns:a16="http://schemas.microsoft.com/office/drawing/2014/main" id="{2BA66F4D-3873-42BA-908F-194108F699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2637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="" xmlns:a16="http://schemas.microsoft.com/office/drawing/2014/main" id="{FDC15A62-417F-476E-A734-CE5A866EB5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07294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1" name="Text Placeholder 73">
            <a:extLst>
              <a:ext uri="{FF2B5EF4-FFF2-40B4-BE49-F238E27FC236}">
                <a16:creationId xmlns="" xmlns:a16="http://schemas.microsoft.com/office/drawing/2014/main" id="{434928DB-C662-4418-A5B0-C1C406A07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07294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="" xmlns:a16="http://schemas.microsoft.com/office/drawing/2014/main" id="{D2DFE80E-F00C-414C-A36D-9651BCFD9403}"/>
              </a:ext>
            </a:extLst>
          </p:cNvPr>
          <p:cNvSpPr/>
          <p:nvPr userDrawn="1"/>
        </p:nvSpPr>
        <p:spPr>
          <a:xfrm>
            <a:off x="1881506" y="2186291"/>
            <a:ext cx="889200" cy="88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CB3C43F5-8DD7-43B6-A712-3A3499F6A61F}"/>
              </a:ext>
            </a:extLst>
          </p:cNvPr>
          <p:cNvSpPr/>
          <p:nvPr userDrawn="1"/>
        </p:nvSpPr>
        <p:spPr>
          <a:xfrm>
            <a:off x="5648071" y="2186291"/>
            <a:ext cx="889200" cy="889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F2E2E774-4ABC-481B-A8A0-B7ABA08AA90B}"/>
              </a:ext>
            </a:extLst>
          </p:cNvPr>
          <p:cNvSpPr/>
          <p:nvPr userDrawn="1"/>
        </p:nvSpPr>
        <p:spPr>
          <a:xfrm>
            <a:off x="9422727" y="2186291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8" name="Graphic 67">
            <a:extLst>
              <a:ext uri="{FF2B5EF4-FFF2-40B4-BE49-F238E27FC236}">
                <a16:creationId xmlns="" xmlns:a16="http://schemas.microsoft.com/office/drawing/2014/main" id="{BF537FD8-BB5F-447F-B684-0E7B0B8FEA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89602" y="2394387"/>
            <a:ext cx="473009" cy="473009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="" xmlns:a16="http://schemas.microsoft.com/office/drawing/2014/main" id="{C1A63E7E-2D1B-46FA-BBFD-ACD7756A6D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63045" y="2401265"/>
            <a:ext cx="459252" cy="459252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="" xmlns:a16="http://schemas.microsoft.com/office/drawing/2014/main" id="{6EB2D635-7DFA-4BEE-82C7-C1C0036ACE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52508" y="2416072"/>
            <a:ext cx="429638" cy="429638"/>
          </a:xfrm>
          <a:prstGeom prst="rect">
            <a:avLst/>
          </a:prstGeom>
        </p:spPr>
      </p:pic>
      <p:sp>
        <p:nvSpPr>
          <p:cNvPr id="62" name="Slide Number Placeholder 5">
            <a:extLst>
              <a:ext uri="{FF2B5EF4-FFF2-40B4-BE49-F238E27FC236}">
                <a16:creationId xmlns="" xmlns:a16="http://schemas.microsoft.com/office/drawing/2014/main" id="{386FFB98-6E6D-A753-D20F-E950CEEFA1FC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925CF40B-535C-4408-B5E6-D4781F24667B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03003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omn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96" name="Text Placeholder 71">
            <a:extLst>
              <a:ext uri="{FF2B5EF4-FFF2-40B4-BE49-F238E27FC236}">
                <a16:creationId xmlns="" xmlns:a16="http://schemas.microsoft.com/office/drawing/2014/main" id="{0876231C-BE6F-48AA-B48B-1FD255277C21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468024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5" name="Text Placeholder 71">
            <a:extLst>
              <a:ext uri="{FF2B5EF4-FFF2-40B4-BE49-F238E27FC236}">
                <a16:creationId xmlns="" xmlns:a16="http://schemas.microsoft.com/office/drawing/2014/main" id="{9806B418-69A8-4729-8CBA-AA026E3790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53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4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1" name="Text Placeholder 71">
            <a:extLst>
              <a:ext uri="{FF2B5EF4-FFF2-40B4-BE49-F238E27FC236}">
                <a16:creationId xmlns="" xmlns:a16="http://schemas.microsoft.com/office/drawing/2014/main" id="{4EC82022-EC12-4FFB-9F82-994EC4C93C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57949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FEE4D4A2-6341-430A-82D6-301250D57032}"/>
              </a:ext>
            </a:extLst>
          </p:cNvPr>
          <p:cNvSpPr/>
          <p:nvPr userDrawn="1"/>
        </p:nvSpPr>
        <p:spPr>
          <a:xfrm>
            <a:off x="5469462" y="2314593"/>
            <a:ext cx="1270800" cy="1269235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6F4EEA49-A619-498E-BF51-D7872451704B}"/>
              </a:ext>
            </a:extLst>
          </p:cNvPr>
          <p:cNvSpPr/>
          <p:nvPr userDrawn="1"/>
        </p:nvSpPr>
        <p:spPr>
          <a:xfrm>
            <a:off x="1691752" y="2314593"/>
            <a:ext cx="1270800" cy="1269235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25A1F741-EDDB-46ED-A1FC-1FC6E2E2361F}"/>
              </a:ext>
            </a:extLst>
          </p:cNvPr>
          <p:cNvSpPr/>
          <p:nvPr userDrawn="1"/>
        </p:nvSpPr>
        <p:spPr>
          <a:xfrm>
            <a:off x="9247171" y="2314593"/>
            <a:ext cx="1270800" cy="1269235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A00045DA-7A11-4A58-9C6B-D8F78CBC94C1}"/>
              </a:ext>
            </a:extLst>
          </p:cNvPr>
          <p:cNvSpPr/>
          <p:nvPr userDrawn="1"/>
        </p:nvSpPr>
        <p:spPr>
          <a:xfrm>
            <a:off x="4376660" y="2949686"/>
            <a:ext cx="3456405" cy="2797971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4C673AFE-7560-4404-80F6-ADDC9F4D87D8}"/>
              </a:ext>
            </a:extLst>
          </p:cNvPr>
          <p:cNvSpPr/>
          <p:nvPr userDrawn="1"/>
        </p:nvSpPr>
        <p:spPr>
          <a:xfrm>
            <a:off x="598950" y="2949686"/>
            <a:ext cx="3456405" cy="2797971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="" xmlns:a16="http://schemas.microsoft.com/office/drawing/2014/main" id="{664BEF5D-DFEF-4E4B-8DBF-D24666A59000}"/>
              </a:ext>
            </a:extLst>
          </p:cNvPr>
          <p:cNvSpPr/>
          <p:nvPr userDrawn="1"/>
        </p:nvSpPr>
        <p:spPr>
          <a:xfrm>
            <a:off x="8154369" y="2949686"/>
            <a:ext cx="3456405" cy="2797971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8" name="Text Placeholder 73">
            <a:extLst>
              <a:ext uri="{FF2B5EF4-FFF2-40B4-BE49-F238E27FC236}">
                <a16:creationId xmlns="" xmlns:a16="http://schemas.microsoft.com/office/drawing/2014/main" id="{81DCBC12-8E85-4CB7-BC57-A991A21AD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729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19" name="Text Placeholder 73">
            <a:extLst>
              <a:ext uri="{FF2B5EF4-FFF2-40B4-BE49-F238E27FC236}">
                <a16:creationId xmlns="" xmlns:a16="http://schemas.microsoft.com/office/drawing/2014/main" id="{07EF1391-7FF7-4A2D-BD27-E5F82C4C7A3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8500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20" name="Text Placeholder 73">
            <a:extLst>
              <a:ext uri="{FF2B5EF4-FFF2-40B4-BE49-F238E27FC236}">
                <a16:creationId xmlns="" xmlns:a16="http://schemas.microsoft.com/office/drawing/2014/main" id="{85765B05-C67F-4A26-AD69-C02CD2DD19C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62710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8EBF9C79-656E-4512-90C0-C0CBD60519C2}"/>
              </a:ext>
            </a:extLst>
          </p:cNvPr>
          <p:cNvSpPr/>
          <p:nvPr userDrawn="1"/>
        </p:nvSpPr>
        <p:spPr>
          <a:xfrm>
            <a:off x="1881506" y="2504610"/>
            <a:ext cx="889200" cy="8892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="" xmlns:a16="http://schemas.microsoft.com/office/drawing/2014/main" id="{DE205172-0FBF-47D6-9FB9-090BBB5F347E}"/>
              </a:ext>
            </a:extLst>
          </p:cNvPr>
          <p:cNvSpPr/>
          <p:nvPr userDrawn="1"/>
        </p:nvSpPr>
        <p:spPr>
          <a:xfrm>
            <a:off x="5648071" y="2504610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C88E7F15-8F28-4006-82C5-F757AA100388}"/>
              </a:ext>
            </a:extLst>
          </p:cNvPr>
          <p:cNvSpPr/>
          <p:nvPr userDrawn="1"/>
        </p:nvSpPr>
        <p:spPr>
          <a:xfrm>
            <a:off x="9422727" y="2504610"/>
            <a:ext cx="889200" cy="889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8" name="Graphic 67">
            <a:extLst>
              <a:ext uri="{FF2B5EF4-FFF2-40B4-BE49-F238E27FC236}">
                <a16:creationId xmlns="" xmlns:a16="http://schemas.microsoft.com/office/drawing/2014/main" id="{CF55F8CE-734C-416A-A99B-80DACFEC47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08970" y="2732074"/>
            <a:ext cx="434273" cy="434273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="" xmlns:a16="http://schemas.microsoft.com/office/drawing/2014/main" id="{7866BD16-3B46-424C-99F6-2D3C168C01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99180" y="2724356"/>
            <a:ext cx="386982" cy="449708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="" xmlns:a16="http://schemas.microsoft.com/office/drawing/2014/main" id="{ACA3D492-3708-4DD7-BF14-3380B2B05C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56071" y="2737954"/>
            <a:ext cx="422512" cy="422512"/>
          </a:xfrm>
          <a:prstGeom prst="rect">
            <a:avLst/>
          </a:prstGeom>
        </p:spPr>
      </p:pic>
      <p:sp>
        <p:nvSpPr>
          <p:cNvPr id="54" name="Slide Number Placeholder 5">
            <a:extLst>
              <a:ext uri="{FF2B5EF4-FFF2-40B4-BE49-F238E27FC236}">
                <a16:creationId xmlns="" xmlns:a16="http://schemas.microsoft.com/office/drawing/2014/main" id="{841DDB46-10A9-E529-FC12-8FD4B6DEF055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0164043A-DC65-423B-B5D4-0BC05B6814B7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26008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8" name="Freeform: Shape 27">
            <a:extLst>
              <a:ext uri="{FF2B5EF4-FFF2-40B4-BE49-F238E27FC236}">
                <a16:creationId xmlns="" xmlns:a16="http://schemas.microsoft.com/office/drawing/2014/main" id="{F787E9F0-8AD2-430E-BD07-AE01EB53B03D}"/>
              </a:ext>
            </a:extLst>
          </p:cNvPr>
          <p:cNvSpPr/>
          <p:nvPr userDrawn="1"/>
        </p:nvSpPr>
        <p:spPr>
          <a:xfrm rot="10800000" flipV="1">
            <a:off x="587375" y="20650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="" xmlns:a16="http://schemas.microsoft.com/office/drawing/2014/main" id="{843A2E07-0380-4B55-B5D6-C941DD1B3644}"/>
              </a:ext>
            </a:extLst>
          </p:cNvPr>
          <p:cNvSpPr/>
          <p:nvPr userDrawn="1"/>
        </p:nvSpPr>
        <p:spPr>
          <a:xfrm rot="10800000" flipV="1">
            <a:off x="587375" y="50956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="" xmlns:a16="http://schemas.microsoft.com/office/drawing/2014/main" id="{5A8579C2-A389-4120-B16D-7B62C069951E}"/>
              </a:ext>
            </a:extLst>
          </p:cNvPr>
          <p:cNvSpPr/>
          <p:nvPr userDrawn="1"/>
        </p:nvSpPr>
        <p:spPr>
          <a:xfrm rot="10800000" flipV="1">
            <a:off x="587375" y="3580347"/>
            <a:ext cx="3360947" cy="705764"/>
          </a:xfrm>
          <a:custGeom>
            <a:avLst/>
            <a:gdLst>
              <a:gd name="connsiteX0" fmla="*/ 3360947 w 3360947"/>
              <a:gd name="connsiteY0" fmla="*/ 0 h 705764"/>
              <a:gd name="connsiteX1" fmla="*/ 0 w 3360947"/>
              <a:gd name="connsiteY1" fmla="*/ 0 h 705764"/>
              <a:gd name="connsiteX2" fmla="*/ 41647 w 3360947"/>
              <a:gd name="connsiteY2" fmla="*/ 51349 h 705764"/>
              <a:gd name="connsiteX3" fmla="*/ 132188 w 3360947"/>
              <a:gd name="connsiteY3" fmla="*/ 352883 h 705764"/>
              <a:gd name="connsiteX4" fmla="*/ 41647 w 3360947"/>
              <a:gd name="connsiteY4" fmla="*/ 654417 h 705764"/>
              <a:gd name="connsiteX5" fmla="*/ 2 w 3360947"/>
              <a:gd name="connsiteY5" fmla="*/ 705764 h 705764"/>
              <a:gd name="connsiteX6" fmla="*/ 3360947 w 3360947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7" h="705764">
                <a:moveTo>
                  <a:pt x="3360947" y="0"/>
                </a:moveTo>
                <a:lnTo>
                  <a:pt x="0" y="0"/>
                </a:lnTo>
                <a:lnTo>
                  <a:pt x="41647" y="51349"/>
                </a:lnTo>
                <a:cubicBezTo>
                  <a:pt x="98810" y="137424"/>
                  <a:pt x="132188" y="241188"/>
                  <a:pt x="132188" y="352883"/>
                </a:cubicBezTo>
                <a:cubicBezTo>
                  <a:pt x="132188" y="464578"/>
                  <a:pt x="98810" y="568342"/>
                  <a:pt x="41647" y="654417"/>
                </a:cubicBezTo>
                <a:lnTo>
                  <a:pt x="2" y="705764"/>
                </a:lnTo>
                <a:lnTo>
                  <a:pt x="3360947" y="7057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="" xmlns:a16="http://schemas.microsoft.com/office/drawing/2014/main" id="{0733A61F-8126-4EA1-B433-89D57436B80F}"/>
              </a:ext>
            </a:extLst>
          </p:cNvPr>
          <p:cNvSpPr/>
          <p:nvPr userDrawn="1"/>
        </p:nvSpPr>
        <p:spPr>
          <a:xfrm rot="10800000" flipH="1" flipV="1">
            <a:off x="7368822" y="2065047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="" xmlns:a16="http://schemas.microsoft.com/office/drawing/2014/main" id="{2536FB0C-BF42-4DCD-9226-CF03FD7F3ECB}"/>
              </a:ext>
            </a:extLst>
          </p:cNvPr>
          <p:cNvSpPr/>
          <p:nvPr userDrawn="1"/>
        </p:nvSpPr>
        <p:spPr>
          <a:xfrm rot="10800000" flipH="1" flipV="1">
            <a:off x="7368822" y="5095648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="" xmlns:a16="http://schemas.microsoft.com/office/drawing/2014/main" id="{55CB6EE8-5014-4739-A5DE-26593DA8C536}"/>
              </a:ext>
            </a:extLst>
          </p:cNvPr>
          <p:cNvSpPr/>
          <p:nvPr userDrawn="1"/>
        </p:nvSpPr>
        <p:spPr>
          <a:xfrm rot="10800000" flipH="1" flipV="1">
            <a:off x="8243681" y="3580347"/>
            <a:ext cx="3360944" cy="705764"/>
          </a:xfrm>
          <a:custGeom>
            <a:avLst/>
            <a:gdLst>
              <a:gd name="connsiteX0" fmla="*/ 0 w 3360944"/>
              <a:gd name="connsiteY0" fmla="*/ 0 h 705764"/>
              <a:gd name="connsiteX1" fmla="*/ 3360944 w 3360944"/>
              <a:gd name="connsiteY1" fmla="*/ 0 h 705764"/>
              <a:gd name="connsiteX2" fmla="*/ 3360944 w 3360944"/>
              <a:gd name="connsiteY2" fmla="*/ 705764 h 705764"/>
              <a:gd name="connsiteX3" fmla="*/ 1 w 3360944"/>
              <a:gd name="connsiteY3" fmla="*/ 705764 h 705764"/>
              <a:gd name="connsiteX4" fmla="*/ 41647 w 3360944"/>
              <a:gd name="connsiteY4" fmla="*/ 654417 h 705764"/>
              <a:gd name="connsiteX5" fmla="*/ 132188 w 3360944"/>
              <a:gd name="connsiteY5" fmla="*/ 352883 h 705764"/>
              <a:gd name="connsiteX6" fmla="*/ 41647 w 3360944"/>
              <a:gd name="connsiteY6" fmla="*/ 51349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4" h="705764">
                <a:moveTo>
                  <a:pt x="0" y="0"/>
                </a:moveTo>
                <a:lnTo>
                  <a:pt x="3360944" y="0"/>
                </a:lnTo>
                <a:lnTo>
                  <a:pt x="3360944" y="705764"/>
                </a:lnTo>
                <a:lnTo>
                  <a:pt x="1" y="705764"/>
                </a:lnTo>
                <a:lnTo>
                  <a:pt x="41647" y="654417"/>
                </a:lnTo>
                <a:cubicBezTo>
                  <a:pt x="98810" y="568342"/>
                  <a:pt x="132188" y="464578"/>
                  <a:pt x="132188" y="352883"/>
                </a:cubicBezTo>
                <a:cubicBezTo>
                  <a:pt x="132188" y="241188"/>
                  <a:pt x="98810" y="137424"/>
                  <a:pt x="41647" y="51349"/>
                </a:cubicBezTo>
                <a:close/>
              </a:path>
            </a:pathLst>
          </a:cu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="" xmlns:a16="http://schemas.microsoft.com/office/drawing/2014/main" id="{A57EA933-7CDE-4235-9137-2A3FE5E8D9D3}"/>
              </a:ext>
            </a:extLst>
          </p:cNvPr>
          <p:cNvSpPr/>
          <p:nvPr/>
        </p:nvSpPr>
        <p:spPr>
          <a:xfrm>
            <a:off x="4944386" y="2790229"/>
            <a:ext cx="2286000" cy="2286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96000">
                <a:schemeClr val="tx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="" xmlns:a16="http://schemas.microsoft.com/office/drawing/2014/main" id="{87BCABF8-A7DD-47E3-8DE9-2A5DF03ECF74}"/>
              </a:ext>
            </a:extLst>
          </p:cNvPr>
          <p:cNvGrpSpPr/>
          <p:nvPr userDrawn="1"/>
        </p:nvGrpSpPr>
        <p:grpSpPr>
          <a:xfrm>
            <a:off x="4488084" y="2334209"/>
            <a:ext cx="3206404" cy="3198040"/>
            <a:chOff x="4283651" y="1987454"/>
            <a:chExt cx="3615269" cy="3605839"/>
          </a:xfrm>
        </p:grpSpPr>
        <p:sp>
          <p:nvSpPr>
            <p:cNvPr id="64" name="Arc 63">
              <a:extLst>
                <a:ext uri="{FF2B5EF4-FFF2-40B4-BE49-F238E27FC236}">
                  <a16:creationId xmlns="" xmlns:a16="http://schemas.microsoft.com/office/drawing/2014/main" id="{D5D1CF31-4151-4F39-A971-933E92EEE5D0}"/>
                </a:ext>
              </a:extLst>
            </p:cNvPr>
            <p:cNvSpPr/>
            <p:nvPr/>
          </p:nvSpPr>
          <p:spPr bwMode="auto">
            <a:xfrm>
              <a:off x="4283651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="" xmlns:a16="http://schemas.microsoft.com/office/drawing/2014/main" id="{3FAB8C38-CD9D-48C9-A605-81A0F87D741F}"/>
                </a:ext>
              </a:extLst>
            </p:cNvPr>
            <p:cNvSpPr/>
            <p:nvPr/>
          </p:nvSpPr>
          <p:spPr bwMode="auto">
            <a:xfrm rot="36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6" name="Arc 65">
              <a:extLst>
                <a:ext uri="{FF2B5EF4-FFF2-40B4-BE49-F238E27FC236}">
                  <a16:creationId xmlns="" xmlns:a16="http://schemas.microsoft.com/office/drawing/2014/main" id="{69955EE1-83B9-4DD8-B9B3-264C8BD0CE59}"/>
                </a:ext>
              </a:extLst>
            </p:cNvPr>
            <p:cNvSpPr/>
            <p:nvPr/>
          </p:nvSpPr>
          <p:spPr bwMode="auto">
            <a:xfrm rot="72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7" name="Arc 66">
              <a:extLst>
                <a:ext uri="{FF2B5EF4-FFF2-40B4-BE49-F238E27FC236}">
                  <a16:creationId xmlns="" xmlns:a16="http://schemas.microsoft.com/office/drawing/2014/main" id="{29FF92D4-0791-4E90-83E3-C3162B6CB364}"/>
                </a:ext>
              </a:extLst>
            </p:cNvPr>
            <p:cNvSpPr/>
            <p:nvPr/>
          </p:nvSpPr>
          <p:spPr bwMode="auto">
            <a:xfrm rot="108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8" name="Arc 67">
              <a:extLst>
                <a:ext uri="{FF2B5EF4-FFF2-40B4-BE49-F238E27FC236}">
                  <a16:creationId xmlns="" xmlns:a16="http://schemas.microsoft.com/office/drawing/2014/main" id="{5DEAB797-8470-443C-9B06-544F8E9A3811}"/>
                </a:ext>
              </a:extLst>
            </p:cNvPr>
            <p:cNvSpPr/>
            <p:nvPr/>
          </p:nvSpPr>
          <p:spPr bwMode="auto">
            <a:xfrm rot="144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9" name="Arc 68">
              <a:extLst>
                <a:ext uri="{FF2B5EF4-FFF2-40B4-BE49-F238E27FC236}">
                  <a16:creationId xmlns="" xmlns:a16="http://schemas.microsoft.com/office/drawing/2014/main" id="{F1521EA6-90D8-4385-8E6F-1F9C1C163CF3}"/>
                </a:ext>
              </a:extLst>
            </p:cNvPr>
            <p:cNvSpPr/>
            <p:nvPr/>
          </p:nvSpPr>
          <p:spPr bwMode="auto">
            <a:xfrm rot="180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</p:grpSp>
      <p:sp>
        <p:nvSpPr>
          <p:cNvPr id="113" name="Text Placeholder 73">
            <a:extLst>
              <a:ext uri="{FF2B5EF4-FFF2-40B4-BE49-F238E27FC236}">
                <a16:creationId xmlns="" xmlns:a16="http://schemas.microsoft.com/office/drawing/2014/main" id="{69122990-F317-4471-8D0A-DAD931C0C8F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8218958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4" name="Text Placeholder 73">
            <a:extLst>
              <a:ext uri="{FF2B5EF4-FFF2-40B4-BE49-F238E27FC236}">
                <a16:creationId xmlns="" xmlns:a16="http://schemas.microsoft.com/office/drawing/2014/main" id="{D7498D2B-6A15-4E80-B31C-AE32A16E3049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92282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1</a:t>
            </a:r>
          </a:p>
        </p:txBody>
      </p:sp>
      <p:sp>
        <p:nvSpPr>
          <p:cNvPr id="115" name="Text Placeholder 73">
            <a:extLst>
              <a:ext uri="{FF2B5EF4-FFF2-40B4-BE49-F238E27FC236}">
                <a16:creationId xmlns="" xmlns:a16="http://schemas.microsoft.com/office/drawing/2014/main" id="{7B62703E-5677-486F-87B4-B001F7114A77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218958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6" name="Text Placeholder 73">
            <a:extLst>
              <a:ext uri="{FF2B5EF4-FFF2-40B4-BE49-F238E27FC236}">
                <a16:creationId xmlns="" xmlns:a16="http://schemas.microsoft.com/office/drawing/2014/main" id="{CE4FAFE9-DA16-4DF4-BC63-C9A89CAEEF5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692282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3</a:t>
            </a:r>
          </a:p>
        </p:txBody>
      </p:sp>
      <p:sp>
        <p:nvSpPr>
          <p:cNvPr id="117" name="Text Placeholder 73">
            <a:extLst>
              <a:ext uri="{FF2B5EF4-FFF2-40B4-BE49-F238E27FC236}">
                <a16:creationId xmlns="" xmlns:a16="http://schemas.microsoft.com/office/drawing/2014/main" id="{6A6BA5AC-4CDD-4F43-BCFD-01A992BA987A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089892" y="3738321"/>
            <a:ext cx="1638205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="" xmlns:a16="http://schemas.microsoft.com/office/drawing/2014/main" id="{C8D0EA2B-4324-4CB4-9DC2-53ABBE063FC1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563216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2</a:t>
            </a:r>
          </a:p>
        </p:txBody>
      </p:sp>
      <p:sp>
        <p:nvSpPr>
          <p:cNvPr id="121" name="Text Placeholder 73">
            <a:extLst>
              <a:ext uri="{FF2B5EF4-FFF2-40B4-BE49-F238E27FC236}">
                <a16:creationId xmlns="" xmlns:a16="http://schemas.microsoft.com/office/drawing/2014/main" id="{B049CDD1-E8EC-4C28-9580-DCA79E9D62B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462839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2" name="Text Placeholder 73">
            <a:extLst>
              <a:ext uri="{FF2B5EF4-FFF2-40B4-BE49-F238E27FC236}">
                <a16:creationId xmlns="" xmlns:a16="http://schemas.microsoft.com/office/drawing/2014/main" id="{5006FA14-500F-458C-A7C4-6CE414ABB45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79056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6</a:t>
            </a:r>
          </a:p>
        </p:txBody>
      </p:sp>
      <p:sp>
        <p:nvSpPr>
          <p:cNvPr id="123" name="Text Placeholder 73">
            <a:extLst>
              <a:ext uri="{FF2B5EF4-FFF2-40B4-BE49-F238E27FC236}">
                <a16:creationId xmlns="" xmlns:a16="http://schemas.microsoft.com/office/drawing/2014/main" id="{CA06EC99-E41D-4DBD-A64F-C639B3E43E7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462839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4" name="Text Placeholder 73">
            <a:extLst>
              <a:ext uri="{FF2B5EF4-FFF2-40B4-BE49-F238E27FC236}">
                <a16:creationId xmlns="" xmlns:a16="http://schemas.microsoft.com/office/drawing/2014/main" id="{6AE7A230-9049-4850-80BE-E2342BA1E572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079056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dirty="0" smtClean="0"/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lvl="0" indent="-269875" algn="r"/>
            <a:r>
              <a:rPr lang="en-US" dirty="0"/>
              <a:t>04</a:t>
            </a:r>
          </a:p>
        </p:txBody>
      </p:sp>
      <p:sp>
        <p:nvSpPr>
          <p:cNvPr id="125" name="Text Placeholder 73">
            <a:extLst>
              <a:ext uri="{FF2B5EF4-FFF2-40B4-BE49-F238E27FC236}">
                <a16:creationId xmlns="" xmlns:a16="http://schemas.microsoft.com/office/drawing/2014/main" id="{2D87960F-ECE4-46B4-B168-E301EB696388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1462839" y="3738321"/>
            <a:ext cx="163926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6" name="Text Placeholder 73">
            <a:extLst>
              <a:ext uri="{FF2B5EF4-FFF2-40B4-BE49-F238E27FC236}">
                <a16:creationId xmlns="" xmlns:a16="http://schemas.microsoft.com/office/drawing/2014/main" id="{46632857-020C-417B-BE2F-B68DFFF6202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219557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B110DF2-1465-4105-91D5-7711F33275C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5413492" y="3394273"/>
            <a:ext cx="1347788" cy="1077913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="" xmlns:a16="http://schemas.microsoft.com/office/drawing/2014/main" id="{6C87F724-9FC5-4877-AA09-7FB1E7235515}"/>
              </a:ext>
            </a:extLst>
          </p:cNvPr>
          <p:cNvSpPr/>
          <p:nvPr userDrawn="1"/>
        </p:nvSpPr>
        <p:spPr>
          <a:xfrm>
            <a:off x="4784112" y="1981438"/>
            <a:ext cx="874060" cy="872984"/>
          </a:xfrm>
          <a:prstGeom prst="ellipse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="" xmlns:a16="http://schemas.microsoft.com/office/drawing/2014/main" id="{2BB7F6A5-B033-4C14-AE38-B4967C489DE0}"/>
              </a:ext>
            </a:extLst>
          </p:cNvPr>
          <p:cNvSpPr/>
          <p:nvPr userDrawn="1"/>
        </p:nvSpPr>
        <p:spPr>
          <a:xfrm>
            <a:off x="4784112" y="5012511"/>
            <a:ext cx="874060" cy="872984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="" xmlns:a16="http://schemas.microsoft.com/office/drawing/2014/main" id="{B857A25B-7079-4412-A6E7-E832998207FA}"/>
              </a:ext>
            </a:extLst>
          </p:cNvPr>
          <p:cNvSpPr/>
          <p:nvPr userDrawn="1"/>
        </p:nvSpPr>
        <p:spPr>
          <a:xfrm>
            <a:off x="3920320" y="3496116"/>
            <a:ext cx="874060" cy="872984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Oval 136">
            <a:extLst>
              <a:ext uri="{FF2B5EF4-FFF2-40B4-BE49-F238E27FC236}">
                <a16:creationId xmlns="" xmlns:a16="http://schemas.microsoft.com/office/drawing/2014/main" id="{0D0789A3-562A-4396-92F0-C5A20C4A9884}"/>
              </a:ext>
            </a:extLst>
          </p:cNvPr>
          <p:cNvSpPr/>
          <p:nvPr userDrawn="1"/>
        </p:nvSpPr>
        <p:spPr>
          <a:xfrm>
            <a:off x="6527005" y="1981438"/>
            <a:ext cx="874060" cy="872984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="" xmlns:a16="http://schemas.microsoft.com/office/drawing/2014/main" id="{7ABB4B05-74FC-4655-9711-8243DB932699}"/>
              </a:ext>
            </a:extLst>
          </p:cNvPr>
          <p:cNvSpPr/>
          <p:nvPr userDrawn="1"/>
        </p:nvSpPr>
        <p:spPr>
          <a:xfrm>
            <a:off x="6525688" y="5012511"/>
            <a:ext cx="874060" cy="872984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="" xmlns:a16="http://schemas.microsoft.com/office/drawing/2014/main" id="{22F01685-01D0-4F66-9158-2E6B2A450C84}"/>
              </a:ext>
            </a:extLst>
          </p:cNvPr>
          <p:cNvSpPr/>
          <p:nvPr userDrawn="1"/>
        </p:nvSpPr>
        <p:spPr>
          <a:xfrm>
            <a:off x="7376967" y="3496116"/>
            <a:ext cx="874060" cy="872984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="" xmlns:a16="http://schemas.microsoft.com/office/drawing/2014/main" id="{1C56586F-B41F-4F44-964F-3E084DD60648}"/>
              </a:ext>
            </a:extLst>
          </p:cNvPr>
          <p:cNvGrpSpPr/>
          <p:nvPr userDrawn="1"/>
        </p:nvGrpSpPr>
        <p:grpSpPr>
          <a:xfrm>
            <a:off x="4872338" y="2069125"/>
            <a:ext cx="698400" cy="698400"/>
            <a:chOff x="4872338" y="2069125"/>
            <a:chExt cx="698400" cy="6984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64579A14-CB5E-4B16-BD2A-058FF7899B32}"/>
                </a:ext>
              </a:extLst>
            </p:cNvPr>
            <p:cNvSpPr/>
            <p:nvPr userDrawn="1"/>
          </p:nvSpPr>
          <p:spPr>
            <a:xfrm>
              <a:off x="4872338" y="2069125"/>
              <a:ext cx="698400" cy="6984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8" name="Graphic 77">
              <a:extLst>
                <a:ext uri="{FF2B5EF4-FFF2-40B4-BE49-F238E27FC236}">
                  <a16:creationId xmlns="" xmlns:a16="http://schemas.microsoft.com/office/drawing/2014/main" id="{66C6E8EB-05C1-4FD9-ABDA-931DBB72F6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029597" y="2226385"/>
              <a:ext cx="383882" cy="383880"/>
            </a:xfrm>
            <a:prstGeom prst="rect">
              <a:avLst/>
            </a:prstGeom>
          </p:spPr>
        </p:pic>
      </p:grpSp>
      <p:grpSp>
        <p:nvGrpSpPr>
          <p:cNvPr id="79" name="Group 78">
            <a:extLst>
              <a:ext uri="{FF2B5EF4-FFF2-40B4-BE49-F238E27FC236}">
                <a16:creationId xmlns="" xmlns:a16="http://schemas.microsoft.com/office/drawing/2014/main" id="{CC62CDC1-D2E7-430F-B0D4-09FE9FB40802}"/>
              </a:ext>
            </a:extLst>
          </p:cNvPr>
          <p:cNvGrpSpPr/>
          <p:nvPr userDrawn="1"/>
        </p:nvGrpSpPr>
        <p:grpSpPr>
          <a:xfrm>
            <a:off x="4007754" y="3583803"/>
            <a:ext cx="698400" cy="698400"/>
            <a:chOff x="4007754" y="3583803"/>
            <a:chExt cx="698400" cy="698400"/>
          </a:xfrm>
        </p:grpSpPr>
        <p:sp>
          <p:nvSpPr>
            <p:cNvPr id="80" name="Oval 79">
              <a:extLst>
                <a:ext uri="{FF2B5EF4-FFF2-40B4-BE49-F238E27FC236}">
                  <a16:creationId xmlns="" xmlns:a16="http://schemas.microsoft.com/office/drawing/2014/main" id="{EDA584EF-296A-4DDE-81ED-A2D244A11D82}"/>
                </a:ext>
              </a:extLst>
            </p:cNvPr>
            <p:cNvSpPr/>
            <p:nvPr userDrawn="1"/>
          </p:nvSpPr>
          <p:spPr>
            <a:xfrm>
              <a:off x="4007754" y="3583803"/>
              <a:ext cx="698400" cy="698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1" name="Graphic 80">
              <a:extLst>
                <a:ext uri="{FF2B5EF4-FFF2-40B4-BE49-F238E27FC236}">
                  <a16:creationId xmlns="" xmlns:a16="http://schemas.microsoft.com/office/drawing/2014/main" id="{AC13773D-18C8-428F-88A1-D37C2C0B22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208936" y="3736653"/>
              <a:ext cx="296036" cy="392701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="" xmlns:a16="http://schemas.microsoft.com/office/drawing/2014/main" id="{A865C93E-A23B-49FF-8487-393DFE91EE92}"/>
              </a:ext>
            </a:extLst>
          </p:cNvPr>
          <p:cNvGrpSpPr/>
          <p:nvPr userDrawn="1"/>
        </p:nvGrpSpPr>
        <p:grpSpPr>
          <a:xfrm>
            <a:off x="4872338" y="5100198"/>
            <a:ext cx="698400" cy="698400"/>
            <a:chOff x="4872338" y="5100198"/>
            <a:chExt cx="698400" cy="698400"/>
          </a:xfrm>
        </p:grpSpPr>
        <p:sp>
          <p:nvSpPr>
            <p:cNvPr id="83" name="Oval 82">
              <a:extLst>
                <a:ext uri="{FF2B5EF4-FFF2-40B4-BE49-F238E27FC236}">
                  <a16:creationId xmlns="" xmlns:a16="http://schemas.microsoft.com/office/drawing/2014/main" id="{41C8C3E1-CA83-4CD4-B9DE-AEB887157423}"/>
                </a:ext>
              </a:extLst>
            </p:cNvPr>
            <p:cNvSpPr/>
            <p:nvPr userDrawn="1"/>
          </p:nvSpPr>
          <p:spPr>
            <a:xfrm>
              <a:off x="4872338" y="5100198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4" name="Graphic 83">
              <a:extLst>
                <a:ext uri="{FF2B5EF4-FFF2-40B4-BE49-F238E27FC236}">
                  <a16:creationId xmlns="" xmlns:a16="http://schemas.microsoft.com/office/drawing/2014/main" id="{80AE551C-4ABF-42EA-AA02-8FB6EDA92E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57574" y="5241602"/>
              <a:ext cx="327929" cy="415593"/>
            </a:xfrm>
            <a:prstGeom prst="rect">
              <a:avLst/>
            </a:prstGeom>
          </p:spPr>
        </p:pic>
      </p:grpSp>
      <p:grpSp>
        <p:nvGrpSpPr>
          <p:cNvPr id="85" name="Group 84">
            <a:extLst>
              <a:ext uri="{FF2B5EF4-FFF2-40B4-BE49-F238E27FC236}">
                <a16:creationId xmlns="" xmlns:a16="http://schemas.microsoft.com/office/drawing/2014/main" id="{F4346FD8-FE9E-488D-B71C-6D282F767826}"/>
              </a:ext>
            </a:extLst>
          </p:cNvPr>
          <p:cNvGrpSpPr/>
          <p:nvPr userDrawn="1"/>
        </p:nvGrpSpPr>
        <p:grpSpPr>
          <a:xfrm>
            <a:off x="6613914" y="5100198"/>
            <a:ext cx="698400" cy="698400"/>
            <a:chOff x="6613914" y="5100198"/>
            <a:chExt cx="698400" cy="698400"/>
          </a:xfrm>
        </p:grpSpPr>
        <p:sp>
          <p:nvSpPr>
            <p:cNvPr id="86" name="Oval 85">
              <a:extLst>
                <a:ext uri="{FF2B5EF4-FFF2-40B4-BE49-F238E27FC236}">
                  <a16:creationId xmlns="" xmlns:a16="http://schemas.microsoft.com/office/drawing/2014/main" id="{2E99EF3A-4E11-4219-8107-04C8E335D513}"/>
                </a:ext>
              </a:extLst>
            </p:cNvPr>
            <p:cNvSpPr/>
            <p:nvPr userDrawn="1"/>
          </p:nvSpPr>
          <p:spPr>
            <a:xfrm>
              <a:off x="6613914" y="5100198"/>
              <a:ext cx="698400" cy="698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7" name="Graphic 86">
              <a:extLst>
                <a:ext uri="{FF2B5EF4-FFF2-40B4-BE49-F238E27FC236}">
                  <a16:creationId xmlns="" xmlns:a16="http://schemas.microsoft.com/office/drawing/2014/main" id="{2B63927B-2F7C-42E7-9CFE-8E04634065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95857" y="5282141"/>
              <a:ext cx="334514" cy="334514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="" xmlns:a16="http://schemas.microsoft.com/office/drawing/2014/main" id="{B074275E-CFCD-40DD-A2CA-41DF852C78E7}"/>
              </a:ext>
            </a:extLst>
          </p:cNvPr>
          <p:cNvGrpSpPr/>
          <p:nvPr userDrawn="1"/>
        </p:nvGrpSpPr>
        <p:grpSpPr>
          <a:xfrm>
            <a:off x="7465193" y="3583803"/>
            <a:ext cx="698400" cy="698400"/>
            <a:chOff x="7465193" y="3583803"/>
            <a:chExt cx="698400" cy="698400"/>
          </a:xfrm>
        </p:grpSpPr>
        <p:sp>
          <p:nvSpPr>
            <p:cNvPr id="89" name="Oval 88">
              <a:extLst>
                <a:ext uri="{FF2B5EF4-FFF2-40B4-BE49-F238E27FC236}">
                  <a16:creationId xmlns="" xmlns:a16="http://schemas.microsoft.com/office/drawing/2014/main" id="{4440463C-64E8-4F20-89FF-67D8607D2094}"/>
                </a:ext>
              </a:extLst>
            </p:cNvPr>
            <p:cNvSpPr/>
            <p:nvPr userDrawn="1"/>
          </p:nvSpPr>
          <p:spPr>
            <a:xfrm>
              <a:off x="7465193" y="3583803"/>
              <a:ext cx="698400" cy="6984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0" name="Graphic 89">
              <a:extLst>
                <a:ext uri="{FF2B5EF4-FFF2-40B4-BE49-F238E27FC236}">
                  <a16:creationId xmlns="" xmlns:a16="http://schemas.microsoft.com/office/drawing/2014/main" id="{229CCE2A-7C76-4EC9-8C55-50B39449A1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650521" y="3733235"/>
              <a:ext cx="327745" cy="399537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="" xmlns:a16="http://schemas.microsoft.com/office/drawing/2014/main" id="{782948B5-4CA5-4446-AD19-69F7A41B38F0}"/>
              </a:ext>
            </a:extLst>
          </p:cNvPr>
          <p:cNvGrpSpPr/>
          <p:nvPr userDrawn="1"/>
        </p:nvGrpSpPr>
        <p:grpSpPr>
          <a:xfrm>
            <a:off x="6614439" y="2068335"/>
            <a:ext cx="698400" cy="698400"/>
            <a:chOff x="6614439" y="2068335"/>
            <a:chExt cx="698400" cy="698400"/>
          </a:xfrm>
        </p:grpSpPr>
        <p:sp>
          <p:nvSpPr>
            <p:cNvPr id="92" name="Oval 91">
              <a:extLst>
                <a:ext uri="{FF2B5EF4-FFF2-40B4-BE49-F238E27FC236}">
                  <a16:creationId xmlns="" xmlns:a16="http://schemas.microsoft.com/office/drawing/2014/main" id="{528CD09B-53F1-4900-AFA9-DBC0C91E4B3F}"/>
                </a:ext>
              </a:extLst>
            </p:cNvPr>
            <p:cNvSpPr/>
            <p:nvPr userDrawn="1"/>
          </p:nvSpPr>
          <p:spPr>
            <a:xfrm>
              <a:off x="6614439" y="2068335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3" name="Graphic 92">
              <a:extLst>
                <a:ext uri="{FF2B5EF4-FFF2-40B4-BE49-F238E27FC236}">
                  <a16:creationId xmlns="" xmlns:a16="http://schemas.microsoft.com/office/drawing/2014/main" id="{F20A6122-AD73-4F9F-828E-1BFB298DAC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75751" y="2229647"/>
              <a:ext cx="375776" cy="375776"/>
            </a:xfrm>
            <a:prstGeom prst="rect">
              <a:avLst/>
            </a:prstGeom>
          </p:spPr>
        </p:pic>
      </p:grpSp>
      <p:sp>
        <p:nvSpPr>
          <p:cNvPr id="94" name="Slide Number Placeholder 5">
            <a:extLst>
              <a:ext uri="{FF2B5EF4-FFF2-40B4-BE49-F238E27FC236}">
                <a16:creationId xmlns="" xmlns:a16="http://schemas.microsoft.com/office/drawing/2014/main" id="{0BD7B078-9185-A897-0902-0F3DEEDDB150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20D25D92-6DC8-4C91-B044-BAD7BBE7F58F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1833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Freeform: Shape 57">
            <a:extLst>
              <a:ext uri="{FF2B5EF4-FFF2-40B4-BE49-F238E27FC236}">
                <a16:creationId xmlns="" xmlns:a16="http://schemas.microsoft.com/office/drawing/2014/main" id="{DEBA68A4-E49D-400D-A93C-CCAA20FE3448}"/>
              </a:ext>
            </a:extLst>
          </p:cNvPr>
          <p:cNvSpPr/>
          <p:nvPr userDrawn="1"/>
        </p:nvSpPr>
        <p:spPr>
          <a:xfrm rot="5400000">
            <a:off x="5316902" y="-3717103"/>
            <a:ext cx="1558193" cy="12192001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96599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1"/>
            <a:tileRect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24" name="Rectangle 223">
            <a:extLst>
              <a:ext uri="{FF2B5EF4-FFF2-40B4-BE49-F238E27FC236}">
                <a16:creationId xmlns="" xmlns:a16="http://schemas.microsoft.com/office/drawing/2014/main" id="{4465C87A-6365-4D74-AA4C-D844513A88AC}"/>
              </a:ext>
            </a:extLst>
          </p:cNvPr>
          <p:cNvSpPr/>
          <p:nvPr userDrawn="1"/>
        </p:nvSpPr>
        <p:spPr>
          <a:xfrm flipH="1">
            <a:off x="587373" y="1743457"/>
            <a:ext cx="5792118" cy="4143716"/>
          </a:xfrm>
          <a:prstGeom prst="rect">
            <a:avLst/>
          </a:prstGeom>
          <a:gradFill>
            <a:gsLst>
              <a:gs pos="6100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="" xmlns:a16="http://schemas.microsoft.com/office/drawing/2014/main" id="{0F3B0B18-7350-4E62-86E9-58AD676AADE0}"/>
              </a:ext>
            </a:extLst>
          </p:cNvPr>
          <p:cNvSpPr/>
          <p:nvPr/>
        </p:nvSpPr>
        <p:spPr>
          <a:xfrm>
            <a:off x="7285687" y="1923999"/>
            <a:ext cx="864000" cy="864764"/>
          </a:xfrm>
          <a:prstGeom prst="ellipse">
            <a:avLst/>
          </a:prstGeom>
          <a:solidFill>
            <a:schemeClr val="accent4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="" xmlns:a16="http://schemas.microsoft.com/office/drawing/2014/main" id="{9C362242-F38E-438F-9DB7-B6C6E4984F58}"/>
              </a:ext>
            </a:extLst>
          </p:cNvPr>
          <p:cNvSpPr/>
          <p:nvPr userDrawn="1"/>
        </p:nvSpPr>
        <p:spPr>
          <a:xfrm>
            <a:off x="9958288" y="1923999"/>
            <a:ext cx="864000" cy="864764"/>
          </a:xfrm>
          <a:prstGeom prst="ellipse">
            <a:avLst/>
          </a:prstGeom>
          <a:solidFill>
            <a:schemeClr val="accent2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="" xmlns:a16="http://schemas.microsoft.com/office/drawing/2014/main" id="{145F143A-B4E3-46E0-8B25-496A5ADEF755}"/>
              </a:ext>
            </a:extLst>
          </p:cNvPr>
          <p:cNvSpPr/>
          <p:nvPr userDrawn="1"/>
        </p:nvSpPr>
        <p:spPr>
          <a:xfrm>
            <a:off x="9958288" y="3899456"/>
            <a:ext cx="864000" cy="864764"/>
          </a:xfrm>
          <a:prstGeom prst="ellipse">
            <a:avLst/>
          </a:prstGeom>
          <a:solidFill>
            <a:schemeClr val="bg2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="" xmlns:a16="http://schemas.microsoft.com/office/drawing/2014/main" id="{615377EE-8E46-4A05-AF88-D20AC062BE19}"/>
              </a:ext>
            </a:extLst>
          </p:cNvPr>
          <p:cNvSpPr/>
          <p:nvPr userDrawn="1"/>
        </p:nvSpPr>
        <p:spPr>
          <a:xfrm>
            <a:off x="7285687" y="3899456"/>
            <a:ext cx="864000" cy="864764"/>
          </a:xfrm>
          <a:prstGeom prst="ellipse">
            <a:avLst/>
          </a:prstGeom>
          <a:solidFill>
            <a:schemeClr val="accent6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Content Placeholder 3">
            <a:extLst>
              <a:ext uri="{FF2B5EF4-FFF2-40B4-BE49-F238E27FC236}">
                <a16:creationId xmlns="" xmlns:a16="http://schemas.microsoft.com/office/drawing/2014/main" id="{A6971696-9F32-44F0-9F9D-35C721E8B5E5}"/>
              </a:ext>
            </a:extLst>
          </p:cNvPr>
          <p:cNvSpPr>
            <a:spLocks noGrp="1"/>
          </p:cNvSpPr>
          <p:nvPr userDrawn="1">
            <p:ph sz="quarter" idx="30"/>
          </p:nvPr>
        </p:nvSpPr>
        <p:spPr>
          <a:xfrm>
            <a:off x="849313" y="1924050"/>
            <a:ext cx="5241925" cy="3771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1B4BA8EA-F8FF-4AD7-9402-C3BFF5AA2FDE}"/>
              </a:ext>
            </a:extLst>
          </p:cNvPr>
          <p:cNvSpPr/>
          <p:nvPr/>
        </p:nvSpPr>
        <p:spPr>
          <a:xfrm>
            <a:off x="6508945" y="2367060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96" name="Text Placeholder 73">
            <a:extLst>
              <a:ext uri="{FF2B5EF4-FFF2-40B4-BE49-F238E27FC236}">
                <a16:creationId xmlns="" xmlns:a16="http://schemas.microsoft.com/office/drawing/2014/main" id="{114A4B7B-7DD0-4367-AE68-1AC90EE338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4161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="" xmlns:a16="http://schemas.microsoft.com/office/drawing/2014/main" id="{1D0943E3-37F3-4E66-9B91-BCCA62A5D01D}"/>
              </a:ext>
            </a:extLst>
          </p:cNvPr>
          <p:cNvSpPr/>
          <p:nvPr userDrawn="1"/>
        </p:nvSpPr>
        <p:spPr>
          <a:xfrm>
            <a:off x="9181546" y="2367060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05" name="Text Placeholder 73">
            <a:extLst>
              <a:ext uri="{FF2B5EF4-FFF2-40B4-BE49-F238E27FC236}">
                <a16:creationId xmlns="" xmlns:a16="http://schemas.microsoft.com/office/drawing/2014/main" id="{EBFB0AA9-36B3-44D0-BB7C-FDA0F18E10F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56762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="" xmlns:a16="http://schemas.microsoft.com/office/drawing/2014/main" id="{ABB17EC8-0EF5-4BFC-B325-D744B25E836C}"/>
              </a:ext>
            </a:extLst>
          </p:cNvPr>
          <p:cNvSpPr/>
          <p:nvPr userDrawn="1"/>
        </p:nvSpPr>
        <p:spPr>
          <a:xfrm>
            <a:off x="6508945" y="4342517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7" name="Text Placeholder 73">
            <a:extLst>
              <a:ext uri="{FF2B5EF4-FFF2-40B4-BE49-F238E27FC236}">
                <a16:creationId xmlns="" xmlns:a16="http://schemas.microsoft.com/office/drawing/2014/main" id="{D8BF328F-AEDF-4D29-A752-14A43054A5F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684161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="" xmlns:a16="http://schemas.microsoft.com/office/drawing/2014/main" id="{2235885C-CCD6-434D-A8BB-CEDAF98376D2}"/>
              </a:ext>
            </a:extLst>
          </p:cNvPr>
          <p:cNvSpPr/>
          <p:nvPr userDrawn="1"/>
        </p:nvSpPr>
        <p:spPr>
          <a:xfrm>
            <a:off x="9181546" y="4342517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21" name="Text Placeholder 73">
            <a:extLst>
              <a:ext uri="{FF2B5EF4-FFF2-40B4-BE49-F238E27FC236}">
                <a16:creationId xmlns="" xmlns:a16="http://schemas.microsoft.com/office/drawing/2014/main" id="{E1FC67E4-703C-466B-83B3-2D0C5003510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56762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5" name="Oval 84">
            <a:extLst>
              <a:ext uri="{FF2B5EF4-FFF2-40B4-BE49-F238E27FC236}">
                <a16:creationId xmlns="" xmlns:a16="http://schemas.microsoft.com/office/drawing/2014/main" id="{FA03A925-4870-4644-AE45-0DA847E5266C}"/>
              </a:ext>
            </a:extLst>
          </p:cNvPr>
          <p:cNvSpPr/>
          <p:nvPr userDrawn="1"/>
        </p:nvSpPr>
        <p:spPr>
          <a:xfrm>
            <a:off x="7415141" y="2054126"/>
            <a:ext cx="604800" cy="6048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Freeform 85">
            <a:extLst>
              <a:ext uri="{FF2B5EF4-FFF2-40B4-BE49-F238E27FC236}">
                <a16:creationId xmlns="" xmlns:a16="http://schemas.microsoft.com/office/drawing/2014/main" id="{341E4DE2-38FF-4AC8-9C5C-3C61E9C0D15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560128" y="2265078"/>
            <a:ext cx="315118" cy="184630"/>
          </a:xfrm>
          <a:custGeom>
            <a:avLst/>
            <a:gdLst>
              <a:gd name="T0" fmla="*/ 0 w 96"/>
              <a:gd name="T1" fmla="*/ 29 h 56"/>
              <a:gd name="T2" fmla="*/ 48 w 96"/>
              <a:gd name="T3" fmla="*/ 56 h 56"/>
              <a:gd name="T4" fmla="*/ 96 w 96"/>
              <a:gd name="T5" fmla="*/ 29 h 56"/>
              <a:gd name="T6" fmla="*/ 96 w 96"/>
              <a:gd name="T7" fmla="*/ 27 h 56"/>
              <a:gd name="T8" fmla="*/ 48 w 96"/>
              <a:gd name="T9" fmla="*/ 0 h 56"/>
              <a:gd name="T10" fmla="*/ 0 w 96"/>
              <a:gd name="T11" fmla="*/ 27 h 56"/>
              <a:gd name="T12" fmla="*/ 0 w 96"/>
              <a:gd name="T13" fmla="*/ 29 h 56"/>
              <a:gd name="T14" fmla="*/ 48 w 96"/>
              <a:gd name="T15" fmla="*/ 10 h 56"/>
              <a:gd name="T16" fmla="*/ 66 w 96"/>
              <a:gd name="T17" fmla="*/ 28 h 56"/>
              <a:gd name="T18" fmla="*/ 48 w 96"/>
              <a:gd name="T19" fmla="*/ 46 h 56"/>
              <a:gd name="T20" fmla="*/ 30 w 96"/>
              <a:gd name="T21" fmla="*/ 28 h 56"/>
              <a:gd name="T22" fmla="*/ 48 w 96"/>
              <a:gd name="T23" fmla="*/ 1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6" h="56">
                <a:moveTo>
                  <a:pt x="0" y="29"/>
                </a:moveTo>
                <a:cubicBezTo>
                  <a:pt x="1" y="30"/>
                  <a:pt x="22" y="56"/>
                  <a:pt x="48" y="56"/>
                </a:cubicBezTo>
                <a:cubicBezTo>
                  <a:pt x="74" y="56"/>
                  <a:pt x="95" y="30"/>
                  <a:pt x="96" y="29"/>
                </a:cubicBezTo>
                <a:cubicBezTo>
                  <a:pt x="96" y="29"/>
                  <a:pt x="96" y="27"/>
                  <a:pt x="96" y="27"/>
                </a:cubicBezTo>
                <a:cubicBezTo>
                  <a:pt x="95" y="26"/>
                  <a:pt x="74" y="0"/>
                  <a:pt x="48" y="0"/>
                </a:cubicBezTo>
                <a:cubicBezTo>
                  <a:pt x="22" y="0"/>
                  <a:pt x="1" y="26"/>
                  <a:pt x="0" y="27"/>
                </a:cubicBezTo>
                <a:cubicBezTo>
                  <a:pt x="0" y="27"/>
                  <a:pt x="0" y="29"/>
                  <a:pt x="0" y="29"/>
                </a:cubicBezTo>
                <a:close/>
                <a:moveTo>
                  <a:pt x="48" y="10"/>
                </a:moveTo>
                <a:cubicBezTo>
                  <a:pt x="58" y="10"/>
                  <a:pt x="66" y="18"/>
                  <a:pt x="66" y="28"/>
                </a:cubicBezTo>
                <a:cubicBezTo>
                  <a:pt x="66" y="38"/>
                  <a:pt x="58" y="46"/>
                  <a:pt x="48" y="46"/>
                </a:cubicBezTo>
                <a:cubicBezTo>
                  <a:pt x="38" y="46"/>
                  <a:pt x="30" y="38"/>
                  <a:pt x="30" y="28"/>
                </a:cubicBezTo>
                <a:cubicBezTo>
                  <a:pt x="30" y="18"/>
                  <a:pt x="38" y="10"/>
                  <a:pt x="48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9" name="Oval 88">
            <a:extLst>
              <a:ext uri="{FF2B5EF4-FFF2-40B4-BE49-F238E27FC236}">
                <a16:creationId xmlns="" xmlns:a16="http://schemas.microsoft.com/office/drawing/2014/main" id="{731D1386-71C3-4DDA-A2A5-EEF29566BB01}"/>
              </a:ext>
            </a:extLst>
          </p:cNvPr>
          <p:cNvSpPr/>
          <p:nvPr userDrawn="1"/>
        </p:nvSpPr>
        <p:spPr>
          <a:xfrm>
            <a:off x="10088034" y="2054126"/>
            <a:ext cx="604800" cy="604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Freeform 52">
            <a:extLst>
              <a:ext uri="{FF2B5EF4-FFF2-40B4-BE49-F238E27FC236}">
                <a16:creationId xmlns="" xmlns:a16="http://schemas.microsoft.com/office/drawing/2014/main" id="{CEAB3B9F-C686-48D5-B388-7E9D3E062E10}"/>
              </a:ext>
            </a:extLst>
          </p:cNvPr>
          <p:cNvSpPr>
            <a:spLocks/>
          </p:cNvSpPr>
          <p:nvPr userDrawn="1"/>
        </p:nvSpPr>
        <p:spPr bwMode="auto">
          <a:xfrm>
            <a:off x="10231392" y="2247170"/>
            <a:ext cx="275116" cy="171630"/>
          </a:xfrm>
          <a:custGeom>
            <a:avLst/>
            <a:gdLst>
              <a:gd name="T0" fmla="*/ 71 w 92"/>
              <a:gd name="T1" fmla="*/ 15 h 57"/>
              <a:gd name="T2" fmla="*/ 46 w 92"/>
              <a:gd name="T3" fmla="*/ 0 h 57"/>
              <a:gd name="T4" fmla="*/ 18 w 92"/>
              <a:gd name="T5" fmla="*/ 25 h 57"/>
              <a:gd name="T6" fmla="*/ 0 w 92"/>
              <a:gd name="T7" fmla="*/ 41 h 57"/>
              <a:gd name="T8" fmla="*/ 8 w 92"/>
              <a:gd name="T9" fmla="*/ 55 h 57"/>
              <a:gd name="T10" fmla="*/ 17 w 92"/>
              <a:gd name="T11" fmla="*/ 57 h 57"/>
              <a:gd name="T12" fmla="*/ 20 w 92"/>
              <a:gd name="T13" fmla="*/ 57 h 57"/>
              <a:gd name="T14" fmla="*/ 20 w 92"/>
              <a:gd name="T15" fmla="*/ 42 h 57"/>
              <a:gd name="T16" fmla="*/ 23 w 92"/>
              <a:gd name="T17" fmla="*/ 37 h 57"/>
              <a:gd name="T18" fmla="*/ 29 w 92"/>
              <a:gd name="T19" fmla="*/ 37 h 57"/>
              <a:gd name="T20" fmla="*/ 34 w 92"/>
              <a:gd name="T21" fmla="*/ 39 h 57"/>
              <a:gd name="T22" fmla="*/ 37 w 92"/>
              <a:gd name="T23" fmla="*/ 37 h 57"/>
              <a:gd name="T24" fmla="*/ 47 w 92"/>
              <a:gd name="T25" fmla="*/ 37 h 57"/>
              <a:gd name="T26" fmla="*/ 50 w 92"/>
              <a:gd name="T27" fmla="*/ 39 h 57"/>
              <a:gd name="T28" fmla="*/ 55 w 92"/>
              <a:gd name="T29" fmla="*/ 37 h 57"/>
              <a:gd name="T30" fmla="*/ 61 w 92"/>
              <a:gd name="T31" fmla="*/ 37 h 57"/>
              <a:gd name="T32" fmla="*/ 64 w 92"/>
              <a:gd name="T33" fmla="*/ 42 h 57"/>
              <a:gd name="T34" fmla="*/ 64 w 92"/>
              <a:gd name="T35" fmla="*/ 57 h 57"/>
              <a:gd name="T36" fmla="*/ 73 w 92"/>
              <a:gd name="T37" fmla="*/ 57 h 57"/>
              <a:gd name="T38" fmla="*/ 92 w 92"/>
              <a:gd name="T39" fmla="*/ 36 h 57"/>
              <a:gd name="T40" fmla="*/ 71 w 92"/>
              <a:gd name="T41" fmla="*/ 1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" h="57">
                <a:moveTo>
                  <a:pt x="71" y="15"/>
                </a:moveTo>
                <a:cubicBezTo>
                  <a:pt x="66" y="6"/>
                  <a:pt x="57" y="0"/>
                  <a:pt x="46" y="0"/>
                </a:cubicBezTo>
                <a:cubicBezTo>
                  <a:pt x="32" y="0"/>
                  <a:pt x="19" y="11"/>
                  <a:pt x="18" y="25"/>
                </a:cubicBezTo>
                <a:cubicBezTo>
                  <a:pt x="8" y="24"/>
                  <a:pt x="0" y="32"/>
                  <a:pt x="0" y="41"/>
                </a:cubicBezTo>
                <a:cubicBezTo>
                  <a:pt x="0" y="50"/>
                  <a:pt x="5" y="54"/>
                  <a:pt x="8" y="55"/>
                </a:cubicBezTo>
                <a:cubicBezTo>
                  <a:pt x="12" y="57"/>
                  <a:pt x="16" y="57"/>
                  <a:pt x="17" y="57"/>
                </a:cubicBezTo>
                <a:cubicBezTo>
                  <a:pt x="20" y="57"/>
                  <a:pt x="20" y="57"/>
                  <a:pt x="20" y="57"/>
                </a:cubicBezTo>
                <a:cubicBezTo>
                  <a:pt x="20" y="42"/>
                  <a:pt x="20" y="42"/>
                  <a:pt x="20" y="42"/>
                </a:cubicBezTo>
                <a:cubicBezTo>
                  <a:pt x="20" y="40"/>
                  <a:pt x="21" y="38"/>
                  <a:pt x="23" y="37"/>
                </a:cubicBezTo>
                <a:cubicBezTo>
                  <a:pt x="25" y="36"/>
                  <a:pt x="28" y="36"/>
                  <a:pt x="29" y="37"/>
                </a:cubicBezTo>
                <a:cubicBezTo>
                  <a:pt x="32" y="39"/>
                  <a:pt x="33" y="39"/>
                  <a:pt x="34" y="39"/>
                </a:cubicBezTo>
                <a:cubicBezTo>
                  <a:pt x="35" y="39"/>
                  <a:pt x="36" y="38"/>
                  <a:pt x="37" y="37"/>
                </a:cubicBezTo>
                <a:cubicBezTo>
                  <a:pt x="40" y="34"/>
                  <a:pt x="44" y="34"/>
                  <a:pt x="47" y="37"/>
                </a:cubicBezTo>
                <a:cubicBezTo>
                  <a:pt x="48" y="38"/>
                  <a:pt x="49" y="39"/>
                  <a:pt x="50" y="39"/>
                </a:cubicBezTo>
                <a:cubicBezTo>
                  <a:pt x="51" y="39"/>
                  <a:pt x="52" y="39"/>
                  <a:pt x="55" y="37"/>
                </a:cubicBezTo>
                <a:cubicBezTo>
                  <a:pt x="56" y="36"/>
                  <a:pt x="59" y="36"/>
                  <a:pt x="61" y="37"/>
                </a:cubicBezTo>
                <a:cubicBezTo>
                  <a:pt x="63" y="38"/>
                  <a:pt x="64" y="40"/>
                  <a:pt x="64" y="42"/>
                </a:cubicBezTo>
                <a:cubicBezTo>
                  <a:pt x="64" y="57"/>
                  <a:pt x="64" y="57"/>
                  <a:pt x="64" y="57"/>
                </a:cubicBezTo>
                <a:cubicBezTo>
                  <a:pt x="73" y="57"/>
                  <a:pt x="73" y="57"/>
                  <a:pt x="73" y="57"/>
                </a:cubicBezTo>
                <a:cubicBezTo>
                  <a:pt x="73" y="57"/>
                  <a:pt x="92" y="55"/>
                  <a:pt x="92" y="36"/>
                </a:cubicBezTo>
                <a:cubicBezTo>
                  <a:pt x="92" y="25"/>
                  <a:pt x="83" y="16"/>
                  <a:pt x="71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1" name="Freeform 53">
            <a:extLst>
              <a:ext uri="{FF2B5EF4-FFF2-40B4-BE49-F238E27FC236}">
                <a16:creationId xmlns="" xmlns:a16="http://schemas.microsoft.com/office/drawing/2014/main" id="{0F6AD894-4405-440E-8DAC-B2F62C5525D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03326" y="2364535"/>
            <a:ext cx="107270" cy="122413"/>
          </a:xfrm>
          <a:custGeom>
            <a:avLst/>
            <a:gdLst>
              <a:gd name="T0" fmla="*/ 35 w 36"/>
              <a:gd name="T1" fmla="*/ 1 h 41"/>
              <a:gd name="T2" fmla="*/ 33 w 36"/>
              <a:gd name="T3" fmla="*/ 1 h 41"/>
              <a:gd name="T4" fmla="*/ 26 w 36"/>
              <a:gd name="T5" fmla="*/ 4 h 41"/>
              <a:gd name="T6" fmla="*/ 20 w 36"/>
              <a:gd name="T7" fmla="*/ 1 h 41"/>
              <a:gd name="T8" fmla="*/ 16 w 36"/>
              <a:gd name="T9" fmla="*/ 1 h 41"/>
              <a:gd name="T10" fmla="*/ 10 w 36"/>
              <a:gd name="T11" fmla="*/ 4 h 41"/>
              <a:gd name="T12" fmla="*/ 3 w 36"/>
              <a:gd name="T13" fmla="*/ 1 h 41"/>
              <a:gd name="T14" fmla="*/ 1 w 36"/>
              <a:gd name="T15" fmla="*/ 1 h 41"/>
              <a:gd name="T16" fmla="*/ 0 w 36"/>
              <a:gd name="T17" fmla="*/ 3 h 41"/>
              <a:gd name="T18" fmla="*/ 0 w 36"/>
              <a:gd name="T19" fmla="*/ 27 h 41"/>
              <a:gd name="T20" fmla="*/ 0 w 36"/>
              <a:gd name="T21" fmla="*/ 27 h 41"/>
              <a:gd name="T22" fmla="*/ 17 w 36"/>
              <a:gd name="T23" fmla="*/ 41 h 41"/>
              <a:gd name="T24" fmla="*/ 18 w 36"/>
              <a:gd name="T25" fmla="*/ 41 h 41"/>
              <a:gd name="T26" fmla="*/ 19 w 36"/>
              <a:gd name="T27" fmla="*/ 41 h 41"/>
              <a:gd name="T28" fmla="*/ 36 w 36"/>
              <a:gd name="T29" fmla="*/ 27 h 41"/>
              <a:gd name="T30" fmla="*/ 36 w 36"/>
              <a:gd name="T31" fmla="*/ 27 h 41"/>
              <a:gd name="T32" fmla="*/ 36 w 36"/>
              <a:gd name="T33" fmla="*/ 3 h 41"/>
              <a:gd name="T34" fmla="*/ 35 w 36"/>
              <a:gd name="T35" fmla="*/ 1 h 41"/>
              <a:gd name="T36" fmla="*/ 26 w 36"/>
              <a:gd name="T37" fmla="*/ 21 h 41"/>
              <a:gd name="T38" fmla="*/ 20 w 36"/>
              <a:gd name="T39" fmla="*/ 21 h 41"/>
              <a:gd name="T40" fmla="*/ 20 w 36"/>
              <a:gd name="T41" fmla="*/ 27 h 41"/>
              <a:gd name="T42" fmla="*/ 18 w 36"/>
              <a:gd name="T43" fmla="*/ 29 h 41"/>
              <a:gd name="T44" fmla="*/ 16 w 36"/>
              <a:gd name="T45" fmla="*/ 27 h 41"/>
              <a:gd name="T46" fmla="*/ 16 w 36"/>
              <a:gd name="T47" fmla="*/ 21 h 41"/>
              <a:gd name="T48" fmla="*/ 10 w 36"/>
              <a:gd name="T49" fmla="*/ 21 h 41"/>
              <a:gd name="T50" fmla="*/ 8 w 36"/>
              <a:gd name="T51" fmla="*/ 19 h 41"/>
              <a:gd name="T52" fmla="*/ 10 w 36"/>
              <a:gd name="T53" fmla="*/ 17 h 41"/>
              <a:gd name="T54" fmla="*/ 16 w 36"/>
              <a:gd name="T55" fmla="*/ 17 h 41"/>
              <a:gd name="T56" fmla="*/ 16 w 36"/>
              <a:gd name="T57" fmla="*/ 11 h 41"/>
              <a:gd name="T58" fmla="*/ 18 w 36"/>
              <a:gd name="T59" fmla="*/ 9 h 41"/>
              <a:gd name="T60" fmla="*/ 20 w 36"/>
              <a:gd name="T61" fmla="*/ 11 h 41"/>
              <a:gd name="T62" fmla="*/ 20 w 36"/>
              <a:gd name="T63" fmla="*/ 17 h 41"/>
              <a:gd name="T64" fmla="*/ 26 w 36"/>
              <a:gd name="T65" fmla="*/ 17 h 41"/>
              <a:gd name="T66" fmla="*/ 28 w 36"/>
              <a:gd name="T67" fmla="*/ 19 h 41"/>
              <a:gd name="T68" fmla="*/ 26 w 36"/>
              <a:gd name="T69" fmla="*/ 2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" h="41">
                <a:moveTo>
                  <a:pt x="35" y="1"/>
                </a:moveTo>
                <a:cubicBezTo>
                  <a:pt x="34" y="1"/>
                  <a:pt x="33" y="1"/>
                  <a:pt x="33" y="1"/>
                </a:cubicBezTo>
                <a:cubicBezTo>
                  <a:pt x="30" y="3"/>
                  <a:pt x="28" y="4"/>
                  <a:pt x="26" y="4"/>
                </a:cubicBezTo>
                <a:cubicBezTo>
                  <a:pt x="23" y="4"/>
                  <a:pt x="21" y="3"/>
                  <a:pt x="20" y="1"/>
                </a:cubicBezTo>
                <a:cubicBezTo>
                  <a:pt x="19" y="0"/>
                  <a:pt x="17" y="0"/>
                  <a:pt x="16" y="1"/>
                </a:cubicBezTo>
                <a:cubicBezTo>
                  <a:pt x="15" y="3"/>
                  <a:pt x="13" y="4"/>
                  <a:pt x="10" y="4"/>
                </a:cubicBezTo>
                <a:cubicBezTo>
                  <a:pt x="8" y="4"/>
                  <a:pt x="6" y="3"/>
                  <a:pt x="3" y="1"/>
                </a:cubicBezTo>
                <a:cubicBezTo>
                  <a:pt x="3" y="1"/>
                  <a:pt x="2" y="1"/>
                  <a:pt x="1" y="1"/>
                </a:cubicBezTo>
                <a:cubicBezTo>
                  <a:pt x="0" y="1"/>
                  <a:pt x="0" y="2"/>
                  <a:pt x="0" y="3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8"/>
                  <a:pt x="3" y="37"/>
                  <a:pt x="17" y="41"/>
                </a:cubicBezTo>
                <a:cubicBezTo>
                  <a:pt x="18" y="41"/>
                  <a:pt x="18" y="41"/>
                  <a:pt x="18" y="41"/>
                </a:cubicBezTo>
                <a:cubicBezTo>
                  <a:pt x="18" y="41"/>
                  <a:pt x="18" y="41"/>
                  <a:pt x="19" y="41"/>
                </a:cubicBezTo>
                <a:cubicBezTo>
                  <a:pt x="33" y="37"/>
                  <a:pt x="36" y="28"/>
                  <a:pt x="36" y="27"/>
                </a:cubicBezTo>
                <a:cubicBezTo>
                  <a:pt x="36" y="27"/>
                  <a:pt x="36" y="27"/>
                  <a:pt x="36" y="27"/>
                </a:cubicBezTo>
                <a:cubicBezTo>
                  <a:pt x="36" y="3"/>
                  <a:pt x="36" y="3"/>
                  <a:pt x="36" y="3"/>
                </a:cubicBezTo>
                <a:cubicBezTo>
                  <a:pt x="36" y="2"/>
                  <a:pt x="36" y="1"/>
                  <a:pt x="35" y="1"/>
                </a:cubicBezTo>
                <a:close/>
                <a:moveTo>
                  <a:pt x="26" y="21"/>
                </a:moveTo>
                <a:cubicBezTo>
                  <a:pt x="20" y="21"/>
                  <a:pt x="20" y="21"/>
                  <a:pt x="20" y="21"/>
                </a:cubicBezTo>
                <a:cubicBezTo>
                  <a:pt x="20" y="27"/>
                  <a:pt x="20" y="27"/>
                  <a:pt x="20" y="27"/>
                </a:cubicBezTo>
                <a:cubicBezTo>
                  <a:pt x="20" y="28"/>
                  <a:pt x="19" y="29"/>
                  <a:pt x="18" y="29"/>
                </a:cubicBezTo>
                <a:cubicBezTo>
                  <a:pt x="17" y="29"/>
                  <a:pt x="16" y="28"/>
                  <a:pt x="16" y="27"/>
                </a:cubicBezTo>
                <a:cubicBezTo>
                  <a:pt x="16" y="21"/>
                  <a:pt x="16" y="21"/>
                  <a:pt x="16" y="21"/>
                </a:cubicBezTo>
                <a:cubicBezTo>
                  <a:pt x="10" y="21"/>
                  <a:pt x="10" y="21"/>
                  <a:pt x="10" y="21"/>
                </a:cubicBezTo>
                <a:cubicBezTo>
                  <a:pt x="9" y="21"/>
                  <a:pt x="8" y="20"/>
                  <a:pt x="8" y="19"/>
                </a:cubicBezTo>
                <a:cubicBezTo>
                  <a:pt x="8" y="18"/>
                  <a:pt x="9" y="17"/>
                  <a:pt x="10" y="17"/>
                </a:cubicBezTo>
                <a:cubicBezTo>
                  <a:pt x="16" y="17"/>
                  <a:pt x="16" y="17"/>
                  <a:pt x="16" y="17"/>
                </a:cubicBezTo>
                <a:cubicBezTo>
                  <a:pt x="16" y="11"/>
                  <a:pt x="16" y="11"/>
                  <a:pt x="16" y="11"/>
                </a:cubicBezTo>
                <a:cubicBezTo>
                  <a:pt x="16" y="10"/>
                  <a:pt x="17" y="9"/>
                  <a:pt x="18" y="9"/>
                </a:cubicBezTo>
                <a:cubicBezTo>
                  <a:pt x="19" y="9"/>
                  <a:pt x="20" y="10"/>
                  <a:pt x="20" y="11"/>
                </a:cubicBezTo>
                <a:cubicBezTo>
                  <a:pt x="20" y="17"/>
                  <a:pt x="20" y="17"/>
                  <a:pt x="20" y="17"/>
                </a:cubicBezTo>
                <a:cubicBezTo>
                  <a:pt x="26" y="17"/>
                  <a:pt x="26" y="17"/>
                  <a:pt x="26" y="17"/>
                </a:cubicBezTo>
                <a:cubicBezTo>
                  <a:pt x="27" y="17"/>
                  <a:pt x="28" y="18"/>
                  <a:pt x="28" y="19"/>
                </a:cubicBezTo>
                <a:cubicBezTo>
                  <a:pt x="28" y="20"/>
                  <a:pt x="27" y="21"/>
                  <a:pt x="26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CA8763A0-0DB0-4491-9729-1ED9F042BD4F}"/>
              </a:ext>
            </a:extLst>
          </p:cNvPr>
          <p:cNvSpPr/>
          <p:nvPr userDrawn="1"/>
        </p:nvSpPr>
        <p:spPr>
          <a:xfrm>
            <a:off x="10088034" y="4029583"/>
            <a:ext cx="604800" cy="604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Freeform 26">
            <a:extLst>
              <a:ext uri="{FF2B5EF4-FFF2-40B4-BE49-F238E27FC236}">
                <a16:creationId xmlns="" xmlns:a16="http://schemas.microsoft.com/office/drawing/2014/main" id="{344DF47F-A59A-4A7F-B011-69A98E9A96A1}"/>
              </a:ext>
            </a:extLst>
          </p:cNvPr>
          <p:cNvSpPr>
            <a:spLocks/>
          </p:cNvSpPr>
          <p:nvPr userDrawn="1"/>
        </p:nvSpPr>
        <p:spPr bwMode="auto">
          <a:xfrm>
            <a:off x="10225714" y="4291701"/>
            <a:ext cx="286472" cy="190560"/>
          </a:xfrm>
          <a:custGeom>
            <a:avLst/>
            <a:gdLst>
              <a:gd name="T0" fmla="*/ 94 w 96"/>
              <a:gd name="T1" fmla="*/ 60 h 64"/>
              <a:gd name="T2" fmla="*/ 92 w 96"/>
              <a:gd name="T3" fmla="*/ 60 h 64"/>
              <a:gd name="T4" fmla="*/ 92 w 96"/>
              <a:gd name="T5" fmla="*/ 2 h 64"/>
              <a:gd name="T6" fmla="*/ 90 w 96"/>
              <a:gd name="T7" fmla="*/ 0 h 64"/>
              <a:gd name="T8" fmla="*/ 78 w 96"/>
              <a:gd name="T9" fmla="*/ 0 h 64"/>
              <a:gd name="T10" fmla="*/ 76 w 96"/>
              <a:gd name="T11" fmla="*/ 2 h 64"/>
              <a:gd name="T12" fmla="*/ 76 w 96"/>
              <a:gd name="T13" fmla="*/ 60 h 64"/>
              <a:gd name="T14" fmla="*/ 68 w 96"/>
              <a:gd name="T15" fmla="*/ 60 h 64"/>
              <a:gd name="T16" fmla="*/ 68 w 96"/>
              <a:gd name="T17" fmla="*/ 18 h 64"/>
              <a:gd name="T18" fmla="*/ 66 w 96"/>
              <a:gd name="T19" fmla="*/ 16 h 64"/>
              <a:gd name="T20" fmla="*/ 54 w 96"/>
              <a:gd name="T21" fmla="*/ 16 h 64"/>
              <a:gd name="T22" fmla="*/ 52 w 96"/>
              <a:gd name="T23" fmla="*/ 18 h 64"/>
              <a:gd name="T24" fmla="*/ 52 w 96"/>
              <a:gd name="T25" fmla="*/ 60 h 64"/>
              <a:gd name="T26" fmla="*/ 44 w 96"/>
              <a:gd name="T27" fmla="*/ 60 h 64"/>
              <a:gd name="T28" fmla="*/ 44 w 96"/>
              <a:gd name="T29" fmla="*/ 34 h 64"/>
              <a:gd name="T30" fmla="*/ 42 w 96"/>
              <a:gd name="T31" fmla="*/ 32 h 64"/>
              <a:gd name="T32" fmla="*/ 30 w 96"/>
              <a:gd name="T33" fmla="*/ 32 h 64"/>
              <a:gd name="T34" fmla="*/ 28 w 96"/>
              <a:gd name="T35" fmla="*/ 34 h 64"/>
              <a:gd name="T36" fmla="*/ 28 w 96"/>
              <a:gd name="T37" fmla="*/ 60 h 64"/>
              <a:gd name="T38" fmla="*/ 20 w 96"/>
              <a:gd name="T39" fmla="*/ 60 h 64"/>
              <a:gd name="T40" fmla="*/ 20 w 96"/>
              <a:gd name="T41" fmla="*/ 50 h 64"/>
              <a:gd name="T42" fmla="*/ 18 w 96"/>
              <a:gd name="T43" fmla="*/ 48 h 64"/>
              <a:gd name="T44" fmla="*/ 6 w 96"/>
              <a:gd name="T45" fmla="*/ 48 h 64"/>
              <a:gd name="T46" fmla="*/ 4 w 96"/>
              <a:gd name="T47" fmla="*/ 50 h 64"/>
              <a:gd name="T48" fmla="*/ 4 w 96"/>
              <a:gd name="T49" fmla="*/ 60 h 64"/>
              <a:gd name="T50" fmla="*/ 2 w 96"/>
              <a:gd name="T51" fmla="*/ 60 h 64"/>
              <a:gd name="T52" fmla="*/ 0 w 96"/>
              <a:gd name="T53" fmla="*/ 62 h 64"/>
              <a:gd name="T54" fmla="*/ 2 w 96"/>
              <a:gd name="T55" fmla="*/ 64 h 64"/>
              <a:gd name="T56" fmla="*/ 94 w 96"/>
              <a:gd name="T57" fmla="*/ 64 h 64"/>
              <a:gd name="T58" fmla="*/ 96 w 96"/>
              <a:gd name="T59" fmla="*/ 62 h 64"/>
              <a:gd name="T60" fmla="*/ 94 w 96"/>
              <a:gd name="T61" fmla="*/ 6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96" h="64">
                <a:moveTo>
                  <a:pt x="94" y="60"/>
                </a:moveTo>
                <a:cubicBezTo>
                  <a:pt x="92" y="60"/>
                  <a:pt x="92" y="60"/>
                  <a:pt x="92" y="60"/>
                </a:cubicBezTo>
                <a:cubicBezTo>
                  <a:pt x="92" y="2"/>
                  <a:pt x="92" y="2"/>
                  <a:pt x="92" y="2"/>
                </a:cubicBezTo>
                <a:cubicBezTo>
                  <a:pt x="92" y="1"/>
                  <a:pt x="91" y="0"/>
                  <a:pt x="90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77" y="0"/>
                  <a:pt x="76" y="1"/>
                  <a:pt x="76" y="2"/>
                </a:cubicBezTo>
                <a:cubicBezTo>
                  <a:pt x="76" y="60"/>
                  <a:pt x="76" y="60"/>
                  <a:pt x="76" y="60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18"/>
                  <a:pt x="68" y="18"/>
                  <a:pt x="68" y="18"/>
                </a:cubicBezTo>
                <a:cubicBezTo>
                  <a:pt x="68" y="17"/>
                  <a:pt x="67" y="16"/>
                  <a:pt x="66" y="16"/>
                </a:cubicBezTo>
                <a:cubicBezTo>
                  <a:pt x="54" y="16"/>
                  <a:pt x="54" y="16"/>
                  <a:pt x="54" y="16"/>
                </a:cubicBezTo>
                <a:cubicBezTo>
                  <a:pt x="53" y="16"/>
                  <a:pt x="52" y="17"/>
                  <a:pt x="52" y="18"/>
                </a:cubicBezTo>
                <a:cubicBezTo>
                  <a:pt x="52" y="60"/>
                  <a:pt x="52" y="60"/>
                  <a:pt x="52" y="60"/>
                </a:cubicBezTo>
                <a:cubicBezTo>
                  <a:pt x="44" y="60"/>
                  <a:pt x="44" y="60"/>
                  <a:pt x="44" y="60"/>
                </a:cubicBezTo>
                <a:cubicBezTo>
                  <a:pt x="44" y="34"/>
                  <a:pt x="44" y="34"/>
                  <a:pt x="44" y="34"/>
                </a:cubicBezTo>
                <a:cubicBezTo>
                  <a:pt x="44" y="33"/>
                  <a:pt x="43" y="32"/>
                  <a:pt x="42" y="32"/>
                </a:cubicBezTo>
                <a:cubicBezTo>
                  <a:pt x="30" y="32"/>
                  <a:pt x="30" y="32"/>
                  <a:pt x="30" y="32"/>
                </a:cubicBezTo>
                <a:cubicBezTo>
                  <a:pt x="29" y="32"/>
                  <a:pt x="28" y="33"/>
                  <a:pt x="28" y="34"/>
                </a:cubicBezTo>
                <a:cubicBezTo>
                  <a:pt x="28" y="60"/>
                  <a:pt x="28" y="60"/>
                  <a:pt x="28" y="60"/>
                </a:cubicBezTo>
                <a:cubicBezTo>
                  <a:pt x="20" y="60"/>
                  <a:pt x="20" y="60"/>
                  <a:pt x="20" y="60"/>
                </a:cubicBezTo>
                <a:cubicBezTo>
                  <a:pt x="20" y="50"/>
                  <a:pt x="20" y="50"/>
                  <a:pt x="20" y="50"/>
                </a:cubicBezTo>
                <a:cubicBezTo>
                  <a:pt x="20" y="49"/>
                  <a:pt x="19" y="48"/>
                  <a:pt x="18" y="48"/>
                </a:cubicBezTo>
                <a:cubicBezTo>
                  <a:pt x="6" y="48"/>
                  <a:pt x="6" y="48"/>
                  <a:pt x="6" y="48"/>
                </a:cubicBezTo>
                <a:cubicBezTo>
                  <a:pt x="5" y="48"/>
                  <a:pt x="4" y="49"/>
                  <a:pt x="4" y="50"/>
                </a:cubicBezTo>
                <a:cubicBezTo>
                  <a:pt x="4" y="60"/>
                  <a:pt x="4" y="60"/>
                  <a:pt x="4" y="60"/>
                </a:cubicBezTo>
                <a:cubicBezTo>
                  <a:pt x="2" y="60"/>
                  <a:pt x="2" y="60"/>
                  <a:pt x="2" y="60"/>
                </a:cubicBezTo>
                <a:cubicBezTo>
                  <a:pt x="1" y="60"/>
                  <a:pt x="0" y="61"/>
                  <a:pt x="0" y="62"/>
                </a:cubicBezTo>
                <a:cubicBezTo>
                  <a:pt x="0" y="63"/>
                  <a:pt x="1" y="64"/>
                  <a:pt x="2" y="64"/>
                </a:cubicBezTo>
                <a:cubicBezTo>
                  <a:pt x="94" y="64"/>
                  <a:pt x="94" y="64"/>
                  <a:pt x="94" y="64"/>
                </a:cubicBezTo>
                <a:cubicBezTo>
                  <a:pt x="95" y="64"/>
                  <a:pt x="96" y="63"/>
                  <a:pt x="96" y="62"/>
                </a:cubicBezTo>
                <a:cubicBezTo>
                  <a:pt x="96" y="61"/>
                  <a:pt x="95" y="60"/>
                  <a:pt x="94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6" name="Freeform 27">
            <a:extLst>
              <a:ext uri="{FF2B5EF4-FFF2-40B4-BE49-F238E27FC236}">
                <a16:creationId xmlns="" xmlns:a16="http://schemas.microsoft.com/office/drawing/2014/main" id="{37B4B447-2B63-4604-B38C-66F720CE51B9}"/>
              </a:ext>
            </a:extLst>
          </p:cNvPr>
          <p:cNvSpPr>
            <a:spLocks/>
          </p:cNvSpPr>
          <p:nvPr userDrawn="1"/>
        </p:nvSpPr>
        <p:spPr bwMode="auto">
          <a:xfrm>
            <a:off x="10256002" y="4202101"/>
            <a:ext cx="227158" cy="161534"/>
          </a:xfrm>
          <a:custGeom>
            <a:avLst/>
            <a:gdLst>
              <a:gd name="T0" fmla="*/ 2 w 76"/>
              <a:gd name="T1" fmla="*/ 54 h 54"/>
              <a:gd name="T2" fmla="*/ 3 w 76"/>
              <a:gd name="T3" fmla="*/ 54 h 54"/>
              <a:gd name="T4" fmla="*/ 71 w 76"/>
              <a:gd name="T5" fmla="*/ 8 h 54"/>
              <a:gd name="T6" fmla="*/ 70 w 76"/>
              <a:gd name="T7" fmla="*/ 20 h 54"/>
              <a:gd name="T8" fmla="*/ 72 w 76"/>
              <a:gd name="T9" fmla="*/ 22 h 54"/>
              <a:gd name="T10" fmla="*/ 72 w 76"/>
              <a:gd name="T11" fmla="*/ 22 h 54"/>
              <a:gd name="T12" fmla="*/ 74 w 76"/>
              <a:gd name="T13" fmla="*/ 20 h 54"/>
              <a:gd name="T14" fmla="*/ 76 w 76"/>
              <a:gd name="T15" fmla="*/ 4 h 54"/>
              <a:gd name="T16" fmla="*/ 74 w 76"/>
              <a:gd name="T17" fmla="*/ 2 h 54"/>
              <a:gd name="T18" fmla="*/ 58 w 76"/>
              <a:gd name="T19" fmla="*/ 0 h 54"/>
              <a:gd name="T20" fmla="*/ 56 w 76"/>
              <a:gd name="T21" fmla="*/ 2 h 54"/>
              <a:gd name="T22" fmla="*/ 58 w 76"/>
              <a:gd name="T23" fmla="*/ 4 h 54"/>
              <a:gd name="T24" fmla="*/ 68 w 76"/>
              <a:gd name="T25" fmla="*/ 5 h 54"/>
              <a:gd name="T26" fmla="*/ 1 w 76"/>
              <a:gd name="T27" fmla="*/ 50 h 54"/>
              <a:gd name="T28" fmla="*/ 0 w 76"/>
              <a:gd name="T29" fmla="*/ 53 h 54"/>
              <a:gd name="T30" fmla="*/ 2 w 76"/>
              <a:gd name="T31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6" h="54">
                <a:moveTo>
                  <a:pt x="2" y="54"/>
                </a:moveTo>
                <a:cubicBezTo>
                  <a:pt x="2" y="54"/>
                  <a:pt x="3" y="54"/>
                  <a:pt x="3" y="54"/>
                </a:cubicBezTo>
                <a:cubicBezTo>
                  <a:pt x="71" y="8"/>
                  <a:pt x="71" y="8"/>
                  <a:pt x="71" y="8"/>
                </a:cubicBezTo>
                <a:cubicBezTo>
                  <a:pt x="70" y="20"/>
                  <a:pt x="70" y="20"/>
                  <a:pt x="70" y="20"/>
                </a:cubicBezTo>
                <a:cubicBezTo>
                  <a:pt x="70" y="21"/>
                  <a:pt x="71" y="22"/>
                  <a:pt x="72" y="22"/>
                </a:cubicBezTo>
                <a:cubicBezTo>
                  <a:pt x="72" y="22"/>
                  <a:pt x="72" y="22"/>
                  <a:pt x="72" y="22"/>
                </a:cubicBezTo>
                <a:cubicBezTo>
                  <a:pt x="73" y="22"/>
                  <a:pt x="74" y="21"/>
                  <a:pt x="74" y="20"/>
                </a:cubicBezTo>
                <a:cubicBezTo>
                  <a:pt x="76" y="4"/>
                  <a:pt x="76" y="4"/>
                  <a:pt x="76" y="4"/>
                </a:cubicBezTo>
                <a:cubicBezTo>
                  <a:pt x="76" y="3"/>
                  <a:pt x="75" y="2"/>
                  <a:pt x="74" y="2"/>
                </a:cubicBezTo>
                <a:cubicBezTo>
                  <a:pt x="74" y="2"/>
                  <a:pt x="58" y="0"/>
                  <a:pt x="58" y="0"/>
                </a:cubicBezTo>
                <a:cubicBezTo>
                  <a:pt x="57" y="0"/>
                  <a:pt x="56" y="1"/>
                  <a:pt x="56" y="2"/>
                </a:cubicBezTo>
                <a:cubicBezTo>
                  <a:pt x="56" y="3"/>
                  <a:pt x="57" y="4"/>
                  <a:pt x="58" y="4"/>
                </a:cubicBezTo>
                <a:cubicBezTo>
                  <a:pt x="68" y="5"/>
                  <a:pt x="68" y="5"/>
                  <a:pt x="68" y="5"/>
                </a:cubicBezTo>
                <a:cubicBezTo>
                  <a:pt x="1" y="50"/>
                  <a:pt x="1" y="50"/>
                  <a:pt x="1" y="50"/>
                </a:cubicBezTo>
                <a:cubicBezTo>
                  <a:pt x="0" y="51"/>
                  <a:pt x="0" y="52"/>
                  <a:pt x="0" y="53"/>
                </a:cubicBezTo>
                <a:cubicBezTo>
                  <a:pt x="1" y="54"/>
                  <a:pt x="1" y="54"/>
                  <a:pt x="2" y="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9" name="Oval 98">
            <a:extLst>
              <a:ext uri="{FF2B5EF4-FFF2-40B4-BE49-F238E27FC236}">
                <a16:creationId xmlns="" xmlns:a16="http://schemas.microsoft.com/office/drawing/2014/main" id="{D673D2AC-B071-496F-8C5F-7A4734C6C8E4}"/>
              </a:ext>
            </a:extLst>
          </p:cNvPr>
          <p:cNvSpPr/>
          <p:nvPr userDrawn="1"/>
        </p:nvSpPr>
        <p:spPr>
          <a:xfrm>
            <a:off x="7415141" y="4029583"/>
            <a:ext cx="604800" cy="6048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0" name="Group 99">
            <a:extLst>
              <a:ext uri="{FF2B5EF4-FFF2-40B4-BE49-F238E27FC236}">
                <a16:creationId xmlns="" xmlns:a16="http://schemas.microsoft.com/office/drawing/2014/main" id="{1099BA4D-8C68-4D28-A6CA-CC062736F6EB}"/>
              </a:ext>
            </a:extLst>
          </p:cNvPr>
          <p:cNvGrpSpPr/>
          <p:nvPr userDrawn="1"/>
        </p:nvGrpSpPr>
        <p:grpSpPr>
          <a:xfrm>
            <a:off x="7604815" y="4188594"/>
            <a:ext cx="262826" cy="272212"/>
            <a:chOff x="5618163" y="4232275"/>
            <a:chExt cx="400050" cy="414338"/>
          </a:xfrm>
          <a:solidFill>
            <a:schemeClr val="bg1"/>
          </a:solidFill>
        </p:grpSpPr>
        <p:sp>
          <p:nvSpPr>
            <p:cNvPr id="101" name="Freeform 5">
              <a:extLst>
                <a:ext uri="{FF2B5EF4-FFF2-40B4-BE49-F238E27FC236}">
                  <a16:creationId xmlns="" xmlns:a16="http://schemas.microsoft.com/office/drawing/2014/main" id="{C8F9DCC0-FF9E-4E8F-8E64-7A80C041F7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8676" y="4535488"/>
              <a:ext cx="95250" cy="111125"/>
            </a:xfrm>
            <a:custGeom>
              <a:avLst/>
              <a:gdLst>
                <a:gd name="T0" fmla="*/ 264 w 336"/>
                <a:gd name="T1" fmla="*/ 240 h 384"/>
                <a:gd name="T2" fmla="*/ 196 w 336"/>
                <a:gd name="T3" fmla="*/ 288 h 384"/>
                <a:gd name="T4" fmla="*/ 72 w 336"/>
                <a:gd name="T5" fmla="*/ 288 h 384"/>
                <a:gd name="T6" fmla="*/ 48 w 336"/>
                <a:gd name="T7" fmla="*/ 264 h 384"/>
                <a:gd name="T8" fmla="*/ 48 w 336"/>
                <a:gd name="T9" fmla="*/ 0 h 384"/>
                <a:gd name="T10" fmla="*/ 0 w 336"/>
                <a:gd name="T11" fmla="*/ 0 h 384"/>
                <a:gd name="T12" fmla="*/ 0 w 336"/>
                <a:gd name="T13" fmla="*/ 264 h 384"/>
                <a:gd name="T14" fmla="*/ 72 w 336"/>
                <a:gd name="T15" fmla="*/ 336 h 384"/>
                <a:gd name="T16" fmla="*/ 196 w 336"/>
                <a:gd name="T17" fmla="*/ 336 h 384"/>
                <a:gd name="T18" fmla="*/ 264 w 336"/>
                <a:gd name="T19" fmla="*/ 384 h 384"/>
                <a:gd name="T20" fmla="*/ 336 w 336"/>
                <a:gd name="T21" fmla="*/ 312 h 384"/>
                <a:gd name="T22" fmla="*/ 264 w 336"/>
                <a:gd name="T23" fmla="*/ 240 h 384"/>
                <a:gd name="T24" fmla="*/ 264 w 336"/>
                <a:gd name="T25" fmla="*/ 240 h 384"/>
                <a:gd name="T26" fmla="*/ 264 w 336"/>
                <a:gd name="T27" fmla="*/ 24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6" h="384">
                  <a:moveTo>
                    <a:pt x="264" y="240"/>
                  </a:moveTo>
                  <a:cubicBezTo>
                    <a:pt x="233" y="240"/>
                    <a:pt x="206" y="260"/>
                    <a:pt x="196" y="288"/>
                  </a:cubicBezTo>
                  <a:cubicBezTo>
                    <a:pt x="72" y="288"/>
                    <a:pt x="72" y="288"/>
                    <a:pt x="72" y="288"/>
                  </a:cubicBezTo>
                  <a:cubicBezTo>
                    <a:pt x="59" y="288"/>
                    <a:pt x="48" y="277"/>
                    <a:pt x="48" y="264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4"/>
                    <a:pt x="32" y="336"/>
                    <a:pt x="72" y="336"/>
                  </a:cubicBezTo>
                  <a:cubicBezTo>
                    <a:pt x="196" y="336"/>
                    <a:pt x="196" y="336"/>
                    <a:pt x="196" y="336"/>
                  </a:cubicBezTo>
                  <a:cubicBezTo>
                    <a:pt x="206" y="364"/>
                    <a:pt x="233" y="384"/>
                    <a:pt x="264" y="384"/>
                  </a:cubicBezTo>
                  <a:cubicBezTo>
                    <a:pt x="304" y="384"/>
                    <a:pt x="336" y="352"/>
                    <a:pt x="336" y="312"/>
                  </a:cubicBezTo>
                  <a:cubicBezTo>
                    <a:pt x="336" y="272"/>
                    <a:pt x="304" y="240"/>
                    <a:pt x="264" y="240"/>
                  </a:cubicBezTo>
                  <a:close/>
                  <a:moveTo>
                    <a:pt x="264" y="240"/>
                  </a:moveTo>
                  <a:cubicBezTo>
                    <a:pt x="264" y="240"/>
                    <a:pt x="264" y="240"/>
                    <a:pt x="264" y="2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">
              <a:extLst>
                <a:ext uri="{FF2B5EF4-FFF2-40B4-BE49-F238E27FC236}">
                  <a16:creationId xmlns="" xmlns:a16="http://schemas.microsoft.com/office/drawing/2014/main" id="{908BC695-9AF5-401C-9F9E-01822890D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7551" y="4535488"/>
              <a:ext cx="41275" cy="111125"/>
            </a:xfrm>
            <a:custGeom>
              <a:avLst/>
              <a:gdLst>
                <a:gd name="T0" fmla="*/ 96 w 144"/>
                <a:gd name="T1" fmla="*/ 244 h 384"/>
                <a:gd name="T2" fmla="*/ 96 w 144"/>
                <a:gd name="T3" fmla="*/ 0 h 384"/>
                <a:gd name="T4" fmla="*/ 48 w 144"/>
                <a:gd name="T5" fmla="*/ 0 h 384"/>
                <a:gd name="T6" fmla="*/ 48 w 144"/>
                <a:gd name="T7" fmla="*/ 244 h 384"/>
                <a:gd name="T8" fmla="*/ 0 w 144"/>
                <a:gd name="T9" fmla="*/ 312 h 384"/>
                <a:gd name="T10" fmla="*/ 72 w 144"/>
                <a:gd name="T11" fmla="*/ 384 h 384"/>
                <a:gd name="T12" fmla="*/ 144 w 144"/>
                <a:gd name="T13" fmla="*/ 312 h 384"/>
                <a:gd name="T14" fmla="*/ 96 w 144"/>
                <a:gd name="T15" fmla="*/ 244 h 384"/>
                <a:gd name="T16" fmla="*/ 96 w 144"/>
                <a:gd name="T17" fmla="*/ 244 h 384"/>
                <a:gd name="T18" fmla="*/ 96 w 144"/>
                <a:gd name="T19" fmla="*/ 24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384">
                  <a:moveTo>
                    <a:pt x="96" y="244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44"/>
                    <a:pt x="48" y="244"/>
                    <a:pt x="48" y="244"/>
                  </a:cubicBezTo>
                  <a:cubicBezTo>
                    <a:pt x="20" y="254"/>
                    <a:pt x="0" y="281"/>
                    <a:pt x="0" y="312"/>
                  </a:cubicBezTo>
                  <a:cubicBezTo>
                    <a:pt x="0" y="352"/>
                    <a:pt x="32" y="384"/>
                    <a:pt x="72" y="384"/>
                  </a:cubicBezTo>
                  <a:cubicBezTo>
                    <a:pt x="112" y="384"/>
                    <a:pt x="144" y="352"/>
                    <a:pt x="144" y="312"/>
                  </a:cubicBezTo>
                  <a:cubicBezTo>
                    <a:pt x="144" y="281"/>
                    <a:pt x="124" y="254"/>
                    <a:pt x="96" y="244"/>
                  </a:cubicBezTo>
                  <a:close/>
                  <a:moveTo>
                    <a:pt x="96" y="244"/>
                  </a:moveTo>
                  <a:cubicBezTo>
                    <a:pt x="96" y="244"/>
                    <a:pt x="96" y="244"/>
                    <a:pt x="96" y="2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">
              <a:extLst>
                <a:ext uri="{FF2B5EF4-FFF2-40B4-BE49-F238E27FC236}">
                  <a16:creationId xmlns="" xmlns:a16="http://schemas.microsoft.com/office/drawing/2014/main" id="{610E2A1E-9175-4230-B909-6AE6803740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1988" y="4535488"/>
              <a:ext cx="41275" cy="76200"/>
            </a:xfrm>
            <a:custGeom>
              <a:avLst/>
              <a:gdLst>
                <a:gd name="T0" fmla="*/ 96 w 144"/>
                <a:gd name="T1" fmla="*/ 124 h 264"/>
                <a:gd name="T2" fmla="*/ 96 w 144"/>
                <a:gd name="T3" fmla="*/ 0 h 264"/>
                <a:gd name="T4" fmla="*/ 48 w 144"/>
                <a:gd name="T5" fmla="*/ 0 h 264"/>
                <a:gd name="T6" fmla="*/ 48 w 144"/>
                <a:gd name="T7" fmla="*/ 124 h 264"/>
                <a:gd name="T8" fmla="*/ 0 w 144"/>
                <a:gd name="T9" fmla="*/ 192 h 264"/>
                <a:gd name="T10" fmla="*/ 72 w 144"/>
                <a:gd name="T11" fmla="*/ 264 h 264"/>
                <a:gd name="T12" fmla="*/ 144 w 144"/>
                <a:gd name="T13" fmla="*/ 192 h 264"/>
                <a:gd name="T14" fmla="*/ 96 w 144"/>
                <a:gd name="T15" fmla="*/ 124 h 264"/>
                <a:gd name="T16" fmla="*/ 96 w 144"/>
                <a:gd name="T17" fmla="*/ 124 h 264"/>
                <a:gd name="T18" fmla="*/ 96 w 144"/>
                <a:gd name="T19" fmla="*/ 1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64">
                  <a:moveTo>
                    <a:pt x="96" y="124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24"/>
                    <a:pt x="48" y="124"/>
                    <a:pt x="48" y="124"/>
                  </a:cubicBezTo>
                  <a:cubicBezTo>
                    <a:pt x="20" y="134"/>
                    <a:pt x="0" y="161"/>
                    <a:pt x="0" y="192"/>
                  </a:cubicBezTo>
                  <a:cubicBezTo>
                    <a:pt x="0" y="232"/>
                    <a:pt x="32" y="264"/>
                    <a:pt x="72" y="264"/>
                  </a:cubicBezTo>
                  <a:cubicBezTo>
                    <a:pt x="112" y="264"/>
                    <a:pt x="144" y="232"/>
                    <a:pt x="144" y="192"/>
                  </a:cubicBezTo>
                  <a:cubicBezTo>
                    <a:pt x="144" y="161"/>
                    <a:pt x="124" y="134"/>
                    <a:pt x="96" y="124"/>
                  </a:cubicBezTo>
                  <a:close/>
                  <a:moveTo>
                    <a:pt x="96" y="124"/>
                  </a:moveTo>
                  <a:cubicBezTo>
                    <a:pt x="96" y="124"/>
                    <a:pt x="96" y="124"/>
                    <a:pt x="96" y="1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">
              <a:extLst>
                <a:ext uri="{FF2B5EF4-FFF2-40B4-BE49-F238E27FC236}">
                  <a16:creationId xmlns="" xmlns:a16="http://schemas.microsoft.com/office/drawing/2014/main" id="{C0B4AD15-6CB2-48B3-937D-C1B2E5CCD0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3113" y="4535488"/>
              <a:ext cx="41275" cy="76200"/>
            </a:xfrm>
            <a:custGeom>
              <a:avLst/>
              <a:gdLst>
                <a:gd name="T0" fmla="*/ 96 w 144"/>
                <a:gd name="T1" fmla="*/ 124 h 264"/>
                <a:gd name="T2" fmla="*/ 96 w 144"/>
                <a:gd name="T3" fmla="*/ 0 h 264"/>
                <a:gd name="T4" fmla="*/ 48 w 144"/>
                <a:gd name="T5" fmla="*/ 0 h 264"/>
                <a:gd name="T6" fmla="*/ 48 w 144"/>
                <a:gd name="T7" fmla="*/ 124 h 264"/>
                <a:gd name="T8" fmla="*/ 0 w 144"/>
                <a:gd name="T9" fmla="*/ 192 h 264"/>
                <a:gd name="T10" fmla="*/ 72 w 144"/>
                <a:gd name="T11" fmla="*/ 264 h 264"/>
                <a:gd name="T12" fmla="*/ 144 w 144"/>
                <a:gd name="T13" fmla="*/ 192 h 264"/>
                <a:gd name="T14" fmla="*/ 96 w 144"/>
                <a:gd name="T15" fmla="*/ 124 h 264"/>
                <a:gd name="T16" fmla="*/ 96 w 144"/>
                <a:gd name="T17" fmla="*/ 124 h 264"/>
                <a:gd name="T18" fmla="*/ 96 w 144"/>
                <a:gd name="T19" fmla="*/ 1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64">
                  <a:moveTo>
                    <a:pt x="96" y="124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24"/>
                    <a:pt x="48" y="124"/>
                    <a:pt x="48" y="124"/>
                  </a:cubicBezTo>
                  <a:cubicBezTo>
                    <a:pt x="20" y="134"/>
                    <a:pt x="0" y="161"/>
                    <a:pt x="0" y="192"/>
                  </a:cubicBezTo>
                  <a:cubicBezTo>
                    <a:pt x="0" y="232"/>
                    <a:pt x="32" y="264"/>
                    <a:pt x="72" y="264"/>
                  </a:cubicBezTo>
                  <a:cubicBezTo>
                    <a:pt x="112" y="264"/>
                    <a:pt x="144" y="232"/>
                    <a:pt x="144" y="192"/>
                  </a:cubicBezTo>
                  <a:cubicBezTo>
                    <a:pt x="144" y="161"/>
                    <a:pt x="124" y="134"/>
                    <a:pt x="96" y="124"/>
                  </a:cubicBezTo>
                  <a:close/>
                  <a:moveTo>
                    <a:pt x="96" y="124"/>
                  </a:moveTo>
                  <a:cubicBezTo>
                    <a:pt x="96" y="124"/>
                    <a:pt x="96" y="124"/>
                    <a:pt x="96" y="1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">
              <a:extLst>
                <a:ext uri="{FF2B5EF4-FFF2-40B4-BE49-F238E27FC236}">
                  <a16:creationId xmlns="" xmlns:a16="http://schemas.microsoft.com/office/drawing/2014/main" id="{DB9AD0A7-182C-4147-8DDF-156493347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2451" y="4535488"/>
              <a:ext cx="96838" cy="111125"/>
            </a:xfrm>
            <a:custGeom>
              <a:avLst/>
              <a:gdLst>
                <a:gd name="T0" fmla="*/ 288 w 336"/>
                <a:gd name="T1" fmla="*/ 264 h 384"/>
                <a:gd name="T2" fmla="*/ 264 w 336"/>
                <a:gd name="T3" fmla="*/ 288 h 384"/>
                <a:gd name="T4" fmla="*/ 140 w 336"/>
                <a:gd name="T5" fmla="*/ 288 h 384"/>
                <a:gd name="T6" fmla="*/ 72 w 336"/>
                <a:gd name="T7" fmla="*/ 240 h 384"/>
                <a:gd name="T8" fmla="*/ 0 w 336"/>
                <a:gd name="T9" fmla="*/ 312 h 384"/>
                <a:gd name="T10" fmla="*/ 72 w 336"/>
                <a:gd name="T11" fmla="*/ 384 h 384"/>
                <a:gd name="T12" fmla="*/ 140 w 336"/>
                <a:gd name="T13" fmla="*/ 336 h 384"/>
                <a:gd name="T14" fmla="*/ 264 w 336"/>
                <a:gd name="T15" fmla="*/ 336 h 384"/>
                <a:gd name="T16" fmla="*/ 336 w 336"/>
                <a:gd name="T17" fmla="*/ 264 h 384"/>
                <a:gd name="T18" fmla="*/ 336 w 336"/>
                <a:gd name="T19" fmla="*/ 0 h 384"/>
                <a:gd name="T20" fmla="*/ 288 w 336"/>
                <a:gd name="T21" fmla="*/ 0 h 384"/>
                <a:gd name="T22" fmla="*/ 288 w 336"/>
                <a:gd name="T23" fmla="*/ 264 h 384"/>
                <a:gd name="T24" fmla="*/ 288 w 336"/>
                <a:gd name="T25" fmla="*/ 264 h 384"/>
                <a:gd name="T26" fmla="*/ 288 w 336"/>
                <a:gd name="T27" fmla="*/ 26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6" h="384">
                  <a:moveTo>
                    <a:pt x="288" y="264"/>
                  </a:moveTo>
                  <a:cubicBezTo>
                    <a:pt x="288" y="277"/>
                    <a:pt x="277" y="288"/>
                    <a:pt x="264" y="288"/>
                  </a:cubicBezTo>
                  <a:cubicBezTo>
                    <a:pt x="140" y="288"/>
                    <a:pt x="140" y="288"/>
                    <a:pt x="140" y="288"/>
                  </a:cubicBezTo>
                  <a:cubicBezTo>
                    <a:pt x="130" y="260"/>
                    <a:pt x="103" y="240"/>
                    <a:pt x="72" y="240"/>
                  </a:cubicBezTo>
                  <a:cubicBezTo>
                    <a:pt x="32" y="240"/>
                    <a:pt x="0" y="272"/>
                    <a:pt x="0" y="312"/>
                  </a:cubicBezTo>
                  <a:cubicBezTo>
                    <a:pt x="0" y="352"/>
                    <a:pt x="32" y="384"/>
                    <a:pt x="72" y="384"/>
                  </a:cubicBezTo>
                  <a:cubicBezTo>
                    <a:pt x="103" y="384"/>
                    <a:pt x="130" y="364"/>
                    <a:pt x="140" y="336"/>
                  </a:cubicBezTo>
                  <a:cubicBezTo>
                    <a:pt x="264" y="336"/>
                    <a:pt x="264" y="336"/>
                    <a:pt x="264" y="336"/>
                  </a:cubicBezTo>
                  <a:cubicBezTo>
                    <a:pt x="304" y="336"/>
                    <a:pt x="336" y="304"/>
                    <a:pt x="336" y="264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288" y="0"/>
                    <a:pt x="288" y="0"/>
                    <a:pt x="288" y="0"/>
                  </a:cubicBezTo>
                  <a:lnTo>
                    <a:pt x="288" y="264"/>
                  </a:lnTo>
                  <a:close/>
                  <a:moveTo>
                    <a:pt x="288" y="264"/>
                  </a:moveTo>
                  <a:cubicBezTo>
                    <a:pt x="288" y="264"/>
                    <a:pt x="288" y="264"/>
                    <a:pt x="288" y="26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0">
              <a:extLst>
                <a:ext uri="{FF2B5EF4-FFF2-40B4-BE49-F238E27FC236}">
                  <a16:creationId xmlns="" xmlns:a16="http://schemas.microsoft.com/office/drawing/2014/main" id="{C23EA354-D974-464D-AB8D-1C1F76DB9C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3251" y="4232275"/>
              <a:ext cx="76200" cy="41275"/>
            </a:xfrm>
            <a:custGeom>
              <a:avLst/>
              <a:gdLst>
                <a:gd name="T0" fmla="*/ 266 w 266"/>
                <a:gd name="T1" fmla="*/ 144 h 144"/>
                <a:gd name="T2" fmla="*/ 133 w 266"/>
                <a:gd name="T3" fmla="*/ 0 h 144"/>
                <a:gd name="T4" fmla="*/ 0 w 266"/>
                <a:gd name="T5" fmla="*/ 144 h 144"/>
                <a:gd name="T6" fmla="*/ 266 w 266"/>
                <a:gd name="T7" fmla="*/ 144 h 144"/>
                <a:gd name="T8" fmla="*/ 266 w 266"/>
                <a:gd name="T9" fmla="*/ 144 h 144"/>
                <a:gd name="T10" fmla="*/ 266 w 266"/>
                <a:gd name="T1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144">
                  <a:moveTo>
                    <a:pt x="266" y="144"/>
                  </a:moveTo>
                  <a:cubicBezTo>
                    <a:pt x="235" y="57"/>
                    <a:pt x="187" y="0"/>
                    <a:pt x="133" y="0"/>
                  </a:cubicBezTo>
                  <a:cubicBezTo>
                    <a:pt x="79" y="0"/>
                    <a:pt x="31" y="57"/>
                    <a:pt x="0" y="144"/>
                  </a:cubicBezTo>
                  <a:lnTo>
                    <a:pt x="266" y="144"/>
                  </a:lnTo>
                  <a:close/>
                  <a:moveTo>
                    <a:pt x="266" y="144"/>
                  </a:moveTo>
                  <a:cubicBezTo>
                    <a:pt x="266" y="144"/>
                    <a:pt x="266" y="144"/>
                    <a:pt x="266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1">
              <a:extLst>
                <a:ext uri="{FF2B5EF4-FFF2-40B4-BE49-F238E27FC236}">
                  <a16:creationId xmlns="" xmlns:a16="http://schemas.microsoft.com/office/drawing/2014/main" id="{A99FE92B-7A45-41D4-87A9-B8FD6769A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3726" y="4287838"/>
              <a:ext cx="95250" cy="41275"/>
            </a:xfrm>
            <a:custGeom>
              <a:avLst/>
              <a:gdLst>
                <a:gd name="T0" fmla="*/ 315 w 334"/>
                <a:gd name="T1" fmla="*/ 0 h 144"/>
                <a:gd name="T2" fmla="*/ 19 w 334"/>
                <a:gd name="T3" fmla="*/ 0 h 144"/>
                <a:gd name="T4" fmla="*/ 0 w 334"/>
                <a:gd name="T5" fmla="*/ 144 h 144"/>
                <a:gd name="T6" fmla="*/ 334 w 334"/>
                <a:gd name="T7" fmla="*/ 144 h 144"/>
                <a:gd name="T8" fmla="*/ 315 w 334"/>
                <a:gd name="T9" fmla="*/ 0 h 144"/>
                <a:gd name="T10" fmla="*/ 315 w 334"/>
                <a:gd name="T11" fmla="*/ 0 h 144"/>
                <a:gd name="T12" fmla="*/ 315 w 334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44">
                  <a:moveTo>
                    <a:pt x="315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44"/>
                    <a:pt x="1" y="93"/>
                    <a:pt x="0" y="144"/>
                  </a:cubicBezTo>
                  <a:cubicBezTo>
                    <a:pt x="334" y="144"/>
                    <a:pt x="334" y="144"/>
                    <a:pt x="334" y="144"/>
                  </a:cubicBezTo>
                  <a:cubicBezTo>
                    <a:pt x="333" y="93"/>
                    <a:pt x="326" y="44"/>
                    <a:pt x="315" y="0"/>
                  </a:cubicBezTo>
                  <a:close/>
                  <a:moveTo>
                    <a:pt x="315" y="0"/>
                  </a:moveTo>
                  <a:cubicBezTo>
                    <a:pt x="315" y="0"/>
                    <a:pt x="315" y="0"/>
                    <a:pt x="31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2">
              <a:extLst>
                <a:ext uri="{FF2B5EF4-FFF2-40B4-BE49-F238E27FC236}">
                  <a16:creationId xmlns="" xmlns:a16="http://schemas.microsoft.com/office/drawing/2014/main" id="{EBDDE9B6-B226-47F2-AFBC-755CDD174D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3726" y="4343400"/>
              <a:ext cx="95250" cy="44450"/>
            </a:xfrm>
            <a:custGeom>
              <a:avLst/>
              <a:gdLst>
                <a:gd name="T0" fmla="*/ 262 w 334"/>
                <a:gd name="T1" fmla="*/ 158 h 158"/>
                <a:gd name="T2" fmla="*/ 332 w 334"/>
                <a:gd name="T3" fmla="*/ 38 h 158"/>
                <a:gd name="T4" fmla="*/ 334 w 334"/>
                <a:gd name="T5" fmla="*/ 0 h 158"/>
                <a:gd name="T6" fmla="*/ 0 w 334"/>
                <a:gd name="T7" fmla="*/ 0 h 158"/>
                <a:gd name="T8" fmla="*/ 19 w 334"/>
                <a:gd name="T9" fmla="*/ 144 h 158"/>
                <a:gd name="T10" fmla="*/ 191 w 334"/>
                <a:gd name="T11" fmla="*/ 144 h 158"/>
                <a:gd name="T12" fmla="*/ 262 w 334"/>
                <a:gd name="T13" fmla="*/ 158 h 158"/>
                <a:gd name="T14" fmla="*/ 262 w 334"/>
                <a:gd name="T15" fmla="*/ 158 h 158"/>
                <a:gd name="T16" fmla="*/ 262 w 334"/>
                <a:gd name="T1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4" h="158">
                  <a:moveTo>
                    <a:pt x="262" y="158"/>
                  </a:moveTo>
                  <a:cubicBezTo>
                    <a:pt x="278" y="113"/>
                    <a:pt x="302" y="73"/>
                    <a:pt x="332" y="38"/>
                  </a:cubicBezTo>
                  <a:cubicBezTo>
                    <a:pt x="333" y="25"/>
                    <a:pt x="334" y="13"/>
                    <a:pt x="3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50"/>
                    <a:pt x="8" y="99"/>
                    <a:pt x="1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216" y="144"/>
                    <a:pt x="240" y="149"/>
                    <a:pt x="262" y="158"/>
                  </a:cubicBezTo>
                  <a:close/>
                  <a:moveTo>
                    <a:pt x="262" y="158"/>
                  </a:moveTo>
                  <a:cubicBezTo>
                    <a:pt x="262" y="158"/>
                    <a:pt x="262" y="158"/>
                    <a:pt x="262" y="1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3">
              <a:extLst>
                <a:ext uri="{FF2B5EF4-FFF2-40B4-BE49-F238E27FC236}">
                  <a16:creationId xmlns="" xmlns:a16="http://schemas.microsoft.com/office/drawing/2014/main" id="{47A07928-AC41-4B1E-925F-0C4AFD0B33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8801" y="4238625"/>
              <a:ext cx="47625" cy="34925"/>
            </a:xfrm>
            <a:custGeom>
              <a:avLst/>
              <a:gdLst>
                <a:gd name="T0" fmla="*/ 165 w 165"/>
                <a:gd name="T1" fmla="*/ 0 h 122"/>
                <a:gd name="T2" fmla="*/ 0 w 165"/>
                <a:gd name="T3" fmla="*/ 122 h 122"/>
                <a:gd name="T4" fmla="*/ 103 w 165"/>
                <a:gd name="T5" fmla="*/ 122 h 122"/>
                <a:gd name="T6" fmla="*/ 165 w 165"/>
                <a:gd name="T7" fmla="*/ 0 h 122"/>
                <a:gd name="T8" fmla="*/ 165 w 165"/>
                <a:gd name="T9" fmla="*/ 0 h 122"/>
                <a:gd name="T10" fmla="*/ 165 w 165"/>
                <a:gd name="T1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122">
                  <a:moveTo>
                    <a:pt x="165" y="0"/>
                  </a:moveTo>
                  <a:cubicBezTo>
                    <a:pt x="98" y="24"/>
                    <a:pt x="41" y="67"/>
                    <a:pt x="0" y="122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19" y="73"/>
                    <a:pt x="140" y="32"/>
                    <a:pt x="165" y="0"/>
                  </a:cubicBezTo>
                  <a:close/>
                  <a:moveTo>
                    <a:pt x="165" y="0"/>
                  </a:moveTo>
                  <a:cubicBezTo>
                    <a:pt x="165" y="0"/>
                    <a:pt x="165" y="0"/>
                    <a:pt x="16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4">
              <a:extLst>
                <a:ext uri="{FF2B5EF4-FFF2-40B4-BE49-F238E27FC236}">
                  <a16:creationId xmlns="" xmlns:a16="http://schemas.microsoft.com/office/drawing/2014/main" id="{6682C42B-6244-4841-B517-99C15B37CB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163" y="4287838"/>
              <a:ext cx="47625" cy="41275"/>
            </a:xfrm>
            <a:custGeom>
              <a:avLst/>
              <a:gdLst>
                <a:gd name="T0" fmla="*/ 162 w 162"/>
                <a:gd name="T1" fmla="*/ 0 h 144"/>
                <a:gd name="T2" fmla="*/ 41 w 162"/>
                <a:gd name="T3" fmla="*/ 0 h 144"/>
                <a:gd name="T4" fmla="*/ 0 w 162"/>
                <a:gd name="T5" fmla="*/ 144 h 144"/>
                <a:gd name="T6" fmla="*/ 144 w 162"/>
                <a:gd name="T7" fmla="*/ 144 h 144"/>
                <a:gd name="T8" fmla="*/ 162 w 162"/>
                <a:gd name="T9" fmla="*/ 0 h 144"/>
                <a:gd name="T10" fmla="*/ 162 w 162"/>
                <a:gd name="T11" fmla="*/ 0 h 144"/>
                <a:gd name="T12" fmla="*/ 162 w 162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144">
                  <a:moveTo>
                    <a:pt x="162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18" y="43"/>
                    <a:pt x="4" y="92"/>
                    <a:pt x="0" y="144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45" y="93"/>
                    <a:pt x="151" y="44"/>
                    <a:pt x="162" y="0"/>
                  </a:cubicBezTo>
                  <a:close/>
                  <a:moveTo>
                    <a:pt x="162" y="0"/>
                  </a:moveTo>
                  <a:cubicBezTo>
                    <a:pt x="162" y="0"/>
                    <a:pt x="162" y="0"/>
                    <a:pt x="16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5">
              <a:extLst>
                <a:ext uri="{FF2B5EF4-FFF2-40B4-BE49-F238E27FC236}">
                  <a16:creationId xmlns="" xmlns:a16="http://schemas.microsoft.com/office/drawing/2014/main" id="{46CCCC86-9A7B-4D97-ACFD-B412BA65AA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6276" y="4238625"/>
              <a:ext cx="47625" cy="34925"/>
            </a:xfrm>
            <a:custGeom>
              <a:avLst/>
              <a:gdLst>
                <a:gd name="T0" fmla="*/ 166 w 166"/>
                <a:gd name="T1" fmla="*/ 123 h 123"/>
                <a:gd name="T2" fmla="*/ 0 w 166"/>
                <a:gd name="T3" fmla="*/ 0 h 123"/>
                <a:gd name="T4" fmla="*/ 62 w 166"/>
                <a:gd name="T5" fmla="*/ 123 h 123"/>
                <a:gd name="T6" fmla="*/ 166 w 166"/>
                <a:gd name="T7" fmla="*/ 123 h 123"/>
                <a:gd name="T8" fmla="*/ 166 w 166"/>
                <a:gd name="T9" fmla="*/ 123 h 123"/>
                <a:gd name="T10" fmla="*/ 166 w 166"/>
                <a:gd name="T11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123">
                  <a:moveTo>
                    <a:pt x="166" y="123"/>
                  </a:moveTo>
                  <a:cubicBezTo>
                    <a:pt x="124" y="67"/>
                    <a:pt x="67" y="24"/>
                    <a:pt x="0" y="0"/>
                  </a:cubicBezTo>
                  <a:cubicBezTo>
                    <a:pt x="25" y="32"/>
                    <a:pt x="46" y="74"/>
                    <a:pt x="62" y="123"/>
                  </a:cubicBezTo>
                  <a:lnTo>
                    <a:pt x="166" y="123"/>
                  </a:lnTo>
                  <a:close/>
                  <a:moveTo>
                    <a:pt x="166" y="123"/>
                  </a:moveTo>
                  <a:cubicBezTo>
                    <a:pt x="166" y="123"/>
                    <a:pt x="166" y="123"/>
                    <a:pt x="166" y="1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6">
              <a:extLst>
                <a:ext uri="{FF2B5EF4-FFF2-40B4-BE49-F238E27FC236}">
                  <a16:creationId xmlns="" xmlns:a16="http://schemas.microsoft.com/office/drawing/2014/main" id="{640E37E3-190B-4DC8-91AD-A7AE03FB63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8501" y="4287838"/>
              <a:ext cx="44450" cy="52388"/>
            </a:xfrm>
            <a:custGeom>
              <a:avLst/>
              <a:gdLst>
                <a:gd name="T0" fmla="*/ 19 w 158"/>
                <a:gd name="T1" fmla="*/ 168 h 181"/>
                <a:gd name="T2" fmla="*/ 19 w 158"/>
                <a:gd name="T3" fmla="*/ 181 h 181"/>
                <a:gd name="T4" fmla="*/ 158 w 158"/>
                <a:gd name="T5" fmla="*/ 110 h 181"/>
                <a:gd name="T6" fmla="*/ 122 w 158"/>
                <a:gd name="T7" fmla="*/ 0 h 181"/>
                <a:gd name="T8" fmla="*/ 0 w 158"/>
                <a:gd name="T9" fmla="*/ 0 h 181"/>
                <a:gd name="T10" fmla="*/ 19 w 158"/>
                <a:gd name="T11" fmla="*/ 168 h 181"/>
                <a:gd name="T12" fmla="*/ 19 w 158"/>
                <a:gd name="T13" fmla="*/ 168 h 181"/>
                <a:gd name="T14" fmla="*/ 19 w 158"/>
                <a:gd name="T15" fmla="*/ 16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181">
                  <a:moveTo>
                    <a:pt x="19" y="168"/>
                  </a:moveTo>
                  <a:cubicBezTo>
                    <a:pt x="19" y="172"/>
                    <a:pt x="19" y="177"/>
                    <a:pt x="19" y="181"/>
                  </a:cubicBezTo>
                  <a:cubicBezTo>
                    <a:pt x="59" y="148"/>
                    <a:pt x="106" y="124"/>
                    <a:pt x="158" y="110"/>
                  </a:cubicBezTo>
                  <a:cubicBezTo>
                    <a:pt x="152" y="71"/>
                    <a:pt x="139" y="34"/>
                    <a:pt x="1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51"/>
                    <a:pt x="19" y="108"/>
                    <a:pt x="19" y="168"/>
                  </a:cubicBezTo>
                  <a:close/>
                  <a:moveTo>
                    <a:pt x="19" y="168"/>
                  </a:moveTo>
                  <a:cubicBezTo>
                    <a:pt x="19" y="168"/>
                    <a:pt x="19" y="168"/>
                    <a:pt x="19" y="1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7">
              <a:extLst>
                <a:ext uri="{FF2B5EF4-FFF2-40B4-BE49-F238E27FC236}">
                  <a16:creationId xmlns="" xmlns:a16="http://schemas.microsoft.com/office/drawing/2014/main" id="{0120282C-7386-4CB8-BBB3-8BE530A009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8801" y="4397375"/>
              <a:ext cx="53975" cy="15875"/>
            </a:xfrm>
            <a:custGeom>
              <a:avLst/>
              <a:gdLst>
                <a:gd name="T0" fmla="*/ 50 w 185"/>
                <a:gd name="T1" fmla="*/ 53 h 54"/>
                <a:gd name="T2" fmla="*/ 96 w 185"/>
                <a:gd name="T3" fmla="*/ 48 h 54"/>
                <a:gd name="T4" fmla="*/ 143 w 185"/>
                <a:gd name="T5" fmla="*/ 54 h 54"/>
                <a:gd name="T6" fmla="*/ 185 w 185"/>
                <a:gd name="T7" fmla="*/ 0 h 54"/>
                <a:gd name="T8" fmla="*/ 0 w 185"/>
                <a:gd name="T9" fmla="*/ 0 h 54"/>
                <a:gd name="T10" fmla="*/ 50 w 185"/>
                <a:gd name="T11" fmla="*/ 53 h 54"/>
                <a:gd name="T12" fmla="*/ 50 w 185"/>
                <a:gd name="T13" fmla="*/ 53 h 54"/>
                <a:gd name="T14" fmla="*/ 50 w 185"/>
                <a:gd name="T15" fmla="*/ 5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54">
                  <a:moveTo>
                    <a:pt x="50" y="53"/>
                  </a:moveTo>
                  <a:cubicBezTo>
                    <a:pt x="65" y="50"/>
                    <a:pt x="80" y="48"/>
                    <a:pt x="96" y="48"/>
                  </a:cubicBezTo>
                  <a:cubicBezTo>
                    <a:pt x="112" y="48"/>
                    <a:pt x="127" y="50"/>
                    <a:pt x="143" y="54"/>
                  </a:cubicBezTo>
                  <a:cubicBezTo>
                    <a:pt x="154" y="33"/>
                    <a:pt x="168" y="15"/>
                    <a:pt x="1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19"/>
                    <a:pt x="31" y="37"/>
                    <a:pt x="50" y="53"/>
                  </a:cubicBezTo>
                  <a:close/>
                  <a:moveTo>
                    <a:pt x="50" y="53"/>
                  </a:moveTo>
                  <a:cubicBezTo>
                    <a:pt x="50" y="53"/>
                    <a:pt x="50" y="53"/>
                    <a:pt x="50" y="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8">
              <a:extLst>
                <a:ext uri="{FF2B5EF4-FFF2-40B4-BE49-F238E27FC236}">
                  <a16:creationId xmlns="" xmlns:a16="http://schemas.microsoft.com/office/drawing/2014/main" id="{F1F10BF8-0559-426C-9391-E8197FE1C3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163" y="4343400"/>
              <a:ext cx="47625" cy="41275"/>
            </a:xfrm>
            <a:custGeom>
              <a:avLst/>
              <a:gdLst>
                <a:gd name="T0" fmla="*/ 0 w 162"/>
                <a:gd name="T1" fmla="*/ 0 h 144"/>
                <a:gd name="T2" fmla="*/ 41 w 162"/>
                <a:gd name="T3" fmla="*/ 144 h 144"/>
                <a:gd name="T4" fmla="*/ 162 w 162"/>
                <a:gd name="T5" fmla="*/ 144 h 144"/>
                <a:gd name="T6" fmla="*/ 144 w 162"/>
                <a:gd name="T7" fmla="*/ 0 h 144"/>
                <a:gd name="T8" fmla="*/ 0 w 162"/>
                <a:gd name="T9" fmla="*/ 0 h 144"/>
                <a:gd name="T10" fmla="*/ 0 w 162"/>
                <a:gd name="T11" fmla="*/ 0 h 144"/>
                <a:gd name="T12" fmla="*/ 0 w 162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144">
                  <a:moveTo>
                    <a:pt x="0" y="0"/>
                  </a:moveTo>
                  <a:cubicBezTo>
                    <a:pt x="4" y="51"/>
                    <a:pt x="18" y="100"/>
                    <a:pt x="41" y="144"/>
                  </a:cubicBezTo>
                  <a:cubicBezTo>
                    <a:pt x="162" y="144"/>
                    <a:pt x="162" y="144"/>
                    <a:pt x="162" y="144"/>
                  </a:cubicBezTo>
                  <a:cubicBezTo>
                    <a:pt x="151" y="99"/>
                    <a:pt x="145" y="50"/>
                    <a:pt x="144" y="0"/>
                  </a:cubicBezTo>
                  <a:lnTo>
                    <a:pt x="0" y="0"/>
                  </a:ln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9">
              <a:extLst>
                <a:ext uri="{FF2B5EF4-FFF2-40B4-BE49-F238E27FC236}">
                  <a16:creationId xmlns="" xmlns:a16="http://schemas.microsoft.com/office/drawing/2014/main" id="{01228FD4-827B-40CD-9CE7-F5C9540929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163" y="4329113"/>
              <a:ext cx="400050" cy="193675"/>
            </a:xfrm>
            <a:custGeom>
              <a:avLst/>
              <a:gdLst>
                <a:gd name="T0" fmla="*/ 1056 w 1392"/>
                <a:gd name="T1" fmla="*/ 504 h 672"/>
                <a:gd name="T2" fmla="*/ 1150 w 1392"/>
                <a:gd name="T3" fmla="*/ 301 h 672"/>
                <a:gd name="T4" fmla="*/ 480 w 1392"/>
                <a:gd name="T5" fmla="*/ 336 h 672"/>
                <a:gd name="T6" fmla="*/ 442 w 1392"/>
                <a:gd name="T7" fmla="*/ 252 h 672"/>
                <a:gd name="T8" fmla="*/ 240 w 1392"/>
                <a:gd name="T9" fmla="*/ 384 h 672"/>
                <a:gd name="T10" fmla="*/ 198 w 1392"/>
                <a:gd name="T11" fmla="*/ 339 h 672"/>
                <a:gd name="T12" fmla="*/ 0 w 1392"/>
                <a:gd name="T13" fmla="*/ 504 h 672"/>
                <a:gd name="T14" fmla="*/ 1224 w 1392"/>
                <a:gd name="T15" fmla="*/ 672 h 672"/>
                <a:gd name="T16" fmla="*/ 1224 w 1392"/>
                <a:gd name="T17" fmla="*/ 336 h 672"/>
                <a:gd name="T18" fmla="*/ 408 w 1392"/>
                <a:gd name="T19" fmla="*/ 504 h 672"/>
                <a:gd name="T20" fmla="*/ 504 w 1392"/>
                <a:gd name="T21" fmla="*/ 504 h 672"/>
                <a:gd name="T22" fmla="*/ 528 w 1392"/>
                <a:gd name="T23" fmla="*/ 336 h 672"/>
                <a:gd name="T24" fmla="*/ 816 w 1392"/>
                <a:gd name="T25" fmla="*/ 96 h 672"/>
                <a:gd name="T26" fmla="*/ 528 w 1392"/>
                <a:gd name="T27" fmla="*/ 336 h 672"/>
                <a:gd name="T28" fmla="*/ 600 w 1392"/>
                <a:gd name="T29" fmla="*/ 504 h 672"/>
                <a:gd name="T30" fmla="*/ 696 w 1392"/>
                <a:gd name="T31" fmla="*/ 504 h 672"/>
                <a:gd name="T32" fmla="*/ 840 w 1392"/>
                <a:gd name="T33" fmla="*/ 552 h 672"/>
                <a:gd name="T34" fmla="*/ 840 w 1392"/>
                <a:gd name="T35" fmla="*/ 456 h 672"/>
                <a:gd name="T36" fmla="*/ 840 w 1392"/>
                <a:gd name="T37" fmla="*/ 552 h 672"/>
                <a:gd name="T38" fmla="*/ 860 w 1392"/>
                <a:gd name="T39" fmla="*/ 100 h 672"/>
                <a:gd name="T40" fmla="*/ 921 w 1392"/>
                <a:gd name="T41" fmla="*/ 68 h 672"/>
                <a:gd name="T42" fmla="*/ 1008 w 1392"/>
                <a:gd name="T43" fmla="*/ 624 h 672"/>
                <a:gd name="T44" fmla="*/ 960 w 1392"/>
                <a:gd name="T45" fmla="*/ 576 h 672"/>
                <a:gd name="T46" fmla="*/ 1008 w 1392"/>
                <a:gd name="T47" fmla="*/ 624 h 672"/>
                <a:gd name="T48" fmla="*/ 1056 w 1392"/>
                <a:gd name="T49" fmla="*/ 624 h 672"/>
                <a:gd name="T50" fmla="*/ 1104 w 1392"/>
                <a:gd name="T51" fmla="*/ 576 h 672"/>
                <a:gd name="T52" fmla="*/ 1224 w 1392"/>
                <a:gd name="T53" fmla="*/ 624 h 672"/>
                <a:gd name="T54" fmla="*/ 1152 w 1392"/>
                <a:gd name="T55" fmla="*/ 576 h 672"/>
                <a:gd name="T56" fmla="*/ 1296 w 1392"/>
                <a:gd name="T57" fmla="*/ 504 h 672"/>
                <a:gd name="T58" fmla="*/ 1224 w 1392"/>
                <a:gd name="T59" fmla="*/ 384 h 672"/>
                <a:gd name="T60" fmla="*/ 1224 w 1392"/>
                <a:gd name="T61" fmla="*/ 624 h 672"/>
                <a:gd name="T62" fmla="*/ 1224 w 1392"/>
                <a:gd name="T63" fmla="*/ 624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92" h="672">
                  <a:moveTo>
                    <a:pt x="1224" y="336"/>
                  </a:moveTo>
                  <a:cubicBezTo>
                    <a:pt x="1131" y="336"/>
                    <a:pt x="1056" y="411"/>
                    <a:pt x="1056" y="504"/>
                  </a:cubicBezTo>
                  <a:cubicBezTo>
                    <a:pt x="1008" y="504"/>
                    <a:pt x="1008" y="504"/>
                    <a:pt x="1008" y="504"/>
                  </a:cubicBezTo>
                  <a:cubicBezTo>
                    <a:pt x="1008" y="411"/>
                    <a:pt x="1067" y="332"/>
                    <a:pt x="1150" y="301"/>
                  </a:cubicBezTo>
                  <a:cubicBezTo>
                    <a:pt x="1132" y="131"/>
                    <a:pt x="989" y="0"/>
                    <a:pt x="816" y="0"/>
                  </a:cubicBezTo>
                  <a:cubicBezTo>
                    <a:pt x="631" y="0"/>
                    <a:pt x="480" y="151"/>
                    <a:pt x="480" y="336"/>
                  </a:cubicBezTo>
                  <a:cubicBezTo>
                    <a:pt x="432" y="336"/>
                    <a:pt x="432" y="336"/>
                    <a:pt x="432" y="336"/>
                  </a:cubicBezTo>
                  <a:cubicBezTo>
                    <a:pt x="432" y="307"/>
                    <a:pt x="435" y="279"/>
                    <a:pt x="442" y="252"/>
                  </a:cubicBezTo>
                  <a:cubicBezTo>
                    <a:pt x="423" y="244"/>
                    <a:pt x="404" y="240"/>
                    <a:pt x="384" y="240"/>
                  </a:cubicBezTo>
                  <a:cubicBezTo>
                    <a:pt x="305" y="240"/>
                    <a:pt x="240" y="305"/>
                    <a:pt x="240" y="384"/>
                  </a:cubicBezTo>
                  <a:cubicBezTo>
                    <a:pt x="192" y="384"/>
                    <a:pt x="192" y="384"/>
                    <a:pt x="192" y="384"/>
                  </a:cubicBezTo>
                  <a:cubicBezTo>
                    <a:pt x="192" y="368"/>
                    <a:pt x="194" y="353"/>
                    <a:pt x="198" y="339"/>
                  </a:cubicBezTo>
                  <a:cubicBezTo>
                    <a:pt x="188" y="337"/>
                    <a:pt x="178" y="336"/>
                    <a:pt x="168" y="336"/>
                  </a:cubicBezTo>
                  <a:cubicBezTo>
                    <a:pt x="75" y="336"/>
                    <a:pt x="0" y="411"/>
                    <a:pt x="0" y="504"/>
                  </a:cubicBezTo>
                  <a:cubicBezTo>
                    <a:pt x="0" y="597"/>
                    <a:pt x="75" y="672"/>
                    <a:pt x="168" y="672"/>
                  </a:cubicBezTo>
                  <a:cubicBezTo>
                    <a:pt x="1224" y="672"/>
                    <a:pt x="1224" y="672"/>
                    <a:pt x="1224" y="672"/>
                  </a:cubicBezTo>
                  <a:cubicBezTo>
                    <a:pt x="1317" y="672"/>
                    <a:pt x="1392" y="597"/>
                    <a:pt x="1392" y="504"/>
                  </a:cubicBezTo>
                  <a:cubicBezTo>
                    <a:pt x="1392" y="411"/>
                    <a:pt x="1317" y="336"/>
                    <a:pt x="1224" y="336"/>
                  </a:cubicBezTo>
                  <a:close/>
                  <a:moveTo>
                    <a:pt x="456" y="552"/>
                  </a:moveTo>
                  <a:cubicBezTo>
                    <a:pt x="429" y="552"/>
                    <a:pt x="408" y="531"/>
                    <a:pt x="408" y="504"/>
                  </a:cubicBezTo>
                  <a:cubicBezTo>
                    <a:pt x="408" y="477"/>
                    <a:pt x="429" y="456"/>
                    <a:pt x="456" y="456"/>
                  </a:cubicBezTo>
                  <a:cubicBezTo>
                    <a:pt x="483" y="456"/>
                    <a:pt x="504" y="477"/>
                    <a:pt x="504" y="504"/>
                  </a:cubicBezTo>
                  <a:cubicBezTo>
                    <a:pt x="504" y="531"/>
                    <a:pt x="483" y="552"/>
                    <a:pt x="456" y="552"/>
                  </a:cubicBezTo>
                  <a:close/>
                  <a:moveTo>
                    <a:pt x="528" y="336"/>
                  </a:moveTo>
                  <a:cubicBezTo>
                    <a:pt x="528" y="177"/>
                    <a:pt x="657" y="48"/>
                    <a:pt x="816" y="48"/>
                  </a:cubicBezTo>
                  <a:cubicBezTo>
                    <a:pt x="816" y="96"/>
                    <a:pt x="816" y="96"/>
                    <a:pt x="816" y="96"/>
                  </a:cubicBezTo>
                  <a:cubicBezTo>
                    <a:pt x="684" y="96"/>
                    <a:pt x="576" y="204"/>
                    <a:pt x="576" y="336"/>
                  </a:cubicBezTo>
                  <a:lnTo>
                    <a:pt x="528" y="336"/>
                  </a:lnTo>
                  <a:close/>
                  <a:moveTo>
                    <a:pt x="648" y="552"/>
                  </a:moveTo>
                  <a:cubicBezTo>
                    <a:pt x="621" y="552"/>
                    <a:pt x="600" y="531"/>
                    <a:pt x="600" y="504"/>
                  </a:cubicBezTo>
                  <a:cubicBezTo>
                    <a:pt x="600" y="477"/>
                    <a:pt x="621" y="456"/>
                    <a:pt x="648" y="456"/>
                  </a:cubicBezTo>
                  <a:cubicBezTo>
                    <a:pt x="675" y="456"/>
                    <a:pt x="696" y="477"/>
                    <a:pt x="696" y="504"/>
                  </a:cubicBezTo>
                  <a:cubicBezTo>
                    <a:pt x="696" y="531"/>
                    <a:pt x="675" y="552"/>
                    <a:pt x="648" y="552"/>
                  </a:cubicBezTo>
                  <a:close/>
                  <a:moveTo>
                    <a:pt x="840" y="552"/>
                  </a:moveTo>
                  <a:cubicBezTo>
                    <a:pt x="813" y="552"/>
                    <a:pt x="792" y="531"/>
                    <a:pt x="792" y="504"/>
                  </a:cubicBezTo>
                  <a:cubicBezTo>
                    <a:pt x="792" y="477"/>
                    <a:pt x="813" y="456"/>
                    <a:pt x="840" y="456"/>
                  </a:cubicBezTo>
                  <a:cubicBezTo>
                    <a:pt x="867" y="456"/>
                    <a:pt x="888" y="477"/>
                    <a:pt x="888" y="504"/>
                  </a:cubicBezTo>
                  <a:cubicBezTo>
                    <a:pt x="888" y="531"/>
                    <a:pt x="867" y="552"/>
                    <a:pt x="840" y="552"/>
                  </a:cubicBezTo>
                  <a:close/>
                  <a:moveTo>
                    <a:pt x="903" y="112"/>
                  </a:moveTo>
                  <a:cubicBezTo>
                    <a:pt x="889" y="107"/>
                    <a:pt x="875" y="103"/>
                    <a:pt x="860" y="100"/>
                  </a:cubicBezTo>
                  <a:cubicBezTo>
                    <a:pt x="868" y="53"/>
                    <a:pt x="868" y="53"/>
                    <a:pt x="868" y="53"/>
                  </a:cubicBezTo>
                  <a:cubicBezTo>
                    <a:pt x="886" y="56"/>
                    <a:pt x="904" y="61"/>
                    <a:pt x="921" y="68"/>
                  </a:cubicBezTo>
                  <a:lnTo>
                    <a:pt x="903" y="112"/>
                  </a:lnTo>
                  <a:close/>
                  <a:moveTo>
                    <a:pt x="1008" y="624"/>
                  </a:moveTo>
                  <a:cubicBezTo>
                    <a:pt x="960" y="624"/>
                    <a:pt x="960" y="624"/>
                    <a:pt x="960" y="624"/>
                  </a:cubicBezTo>
                  <a:cubicBezTo>
                    <a:pt x="960" y="576"/>
                    <a:pt x="960" y="576"/>
                    <a:pt x="960" y="576"/>
                  </a:cubicBezTo>
                  <a:cubicBezTo>
                    <a:pt x="1008" y="576"/>
                    <a:pt x="1008" y="576"/>
                    <a:pt x="1008" y="576"/>
                  </a:cubicBezTo>
                  <a:lnTo>
                    <a:pt x="1008" y="624"/>
                  </a:lnTo>
                  <a:close/>
                  <a:moveTo>
                    <a:pt x="1104" y="624"/>
                  </a:moveTo>
                  <a:cubicBezTo>
                    <a:pt x="1056" y="624"/>
                    <a:pt x="1056" y="624"/>
                    <a:pt x="1056" y="624"/>
                  </a:cubicBezTo>
                  <a:cubicBezTo>
                    <a:pt x="1056" y="576"/>
                    <a:pt x="1056" y="576"/>
                    <a:pt x="1056" y="576"/>
                  </a:cubicBezTo>
                  <a:cubicBezTo>
                    <a:pt x="1104" y="576"/>
                    <a:pt x="1104" y="576"/>
                    <a:pt x="1104" y="576"/>
                  </a:cubicBezTo>
                  <a:lnTo>
                    <a:pt x="1104" y="624"/>
                  </a:lnTo>
                  <a:close/>
                  <a:moveTo>
                    <a:pt x="1224" y="624"/>
                  </a:moveTo>
                  <a:cubicBezTo>
                    <a:pt x="1152" y="624"/>
                    <a:pt x="1152" y="624"/>
                    <a:pt x="1152" y="624"/>
                  </a:cubicBezTo>
                  <a:cubicBezTo>
                    <a:pt x="1152" y="576"/>
                    <a:pt x="1152" y="576"/>
                    <a:pt x="1152" y="576"/>
                  </a:cubicBezTo>
                  <a:cubicBezTo>
                    <a:pt x="1224" y="576"/>
                    <a:pt x="1224" y="576"/>
                    <a:pt x="1224" y="576"/>
                  </a:cubicBezTo>
                  <a:cubicBezTo>
                    <a:pt x="1264" y="576"/>
                    <a:pt x="1296" y="544"/>
                    <a:pt x="1296" y="504"/>
                  </a:cubicBezTo>
                  <a:cubicBezTo>
                    <a:pt x="1296" y="464"/>
                    <a:pt x="1264" y="432"/>
                    <a:pt x="1224" y="432"/>
                  </a:cubicBezTo>
                  <a:cubicBezTo>
                    <a:pt x="1224" y="384"/>
                    <a:pt x="1224" y="384"/>
                    <a:pt x="1224" y="384"/>
                  </a:cubicBezTo>
                  <a:cubicBezTo>
                    <a:pt x="1290" y="384"/>
                    <a:pt x="1344" y="438"/>
                    <a:pt x="1344" y="504"/>
                  </a:cubicBezTo>
                  <a:cubicBezTo>
                    <a:pt x="1344" y="570"/>
                    <a:pt x="1290" y="624"/>
                    <a:pt x="1224" y="624"/>
                  </a:cubicBezTo>
                  <a:close/>
                  <a:moveTo>
                    <a:pt x="1224" y="624"/>
                  </a:moveTo>
                  <a:cubicBezTo>
                    <a:pt x="1224" y="624"/>
                    <a:pt x="1224" y="624"/>
                    <a:pt x="1224" y="6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6" name="Slide Number Placeholder 5">
            <a:extLst>
              <a:ext uri="{FF2B5EF4-FFF2-40B4-BE49-F238E27FC236}">
                <a16:creationId xmlns="" xmlns:a16="http://schemas.microsoft.com/office/drawing/2014/main" id="{36330196-C945-BA2C-CC31-8DE375A6A8C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F948D495-8CA8-41C1-B236-7469597C3DE3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001377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s-PE" dirty="0"/>
              <a:t>H</a:t>
            </a:r>
            <a:r>
              <a:rPr lang="en-US" altLang="zh-CN" dirty="0" err="1"/>
              <a:t>illstone</a:t>
            </a:r>
            <a:r>
              <a:rPr lang="en-US" altLang="zh-CN" dirty="0"/>
              <a:t> Colors</a:t>
            </a:r>
            <a:endParaRPr lang="es-PE" dirty="0"/>
          </a:p>
        </p:txBody>
      </p:sp>
      <p:sp>
        <p:nvSpPr>
          <p:cNvPr id="66" name="Slide Number Placeholder 5">
            <a:extLst>
              <a:ext uri="{FF2B5EF4-FFF2-40B4-BE49-F238E27FC236}">
                <a16:creationId xmlns="" xmlns:a16="http://schemas.microsoft.com/office/drawing/2014/main" id="{36330196-C945-BA2C-CC31-8DE375A6A8C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F948D495-8CA8-41C1-B236-7469597C3DE3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E45CECB-05C2-498F-B381-A851EEE00723}"/>
              </a:ext>
            </a:extLst>
          </p:cNvPr>
          <p:cNvSpPr/>
          <p:nvPr userDrawn="1"/>
        </p:nvSpPr>
        <p:spPr>
          <a:xfrm>
            <a:off x="1744950" y="2879480"/>
            <a:ext cx="1103817" cy="1099039"/>
          </a:xfrm>
          <a:prstGeom prst="rect">
            <a:avLst/>
          </a:prstGeom>
          <a:solidFill>
            <a:srgbClr val="0044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="" xmlns:a16="http://schemas.microsoft.com/office/drawing/2014/main" id="{1AE4AE26-95CE-49CF-A3A1-436138512FC4}"/>
              </a:ext>
            </a:extLst>
          </p:cNvPr>
          <p:cNvSpPr/>
          <p:nvPr userDrawn="1"/>
        </p:nvSpPr>
        <p:spPr>
          <a:xfrm>
            <a:off x="2972366" y="2879480"/>
            <a:ext cx="1103817" cy="1099039"/>
          </a:xfrm>
          <a:prstGeom prst="rect">
            <a:avLst/>
          </a:prstGeom>
          <a:solidFill>
            <a:srgbClr val="6260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D3867C5F-4BF2-429B-B026-75BAC06B6C2D}"/>
              </a:ext>
            </a:extLst>
          </p:cNvPr>
          <p:cNvSpPr/>
          <p:nvPr userDrawn="1"/>
        </p:nvSpPr>
        <p:spPr>
          <a:xfrm>
            <a:off x="4199782" y="2879480"/>
            <a:ext cx="1103817" cy="1099039"/>
          </a:xfrm>
          <a:prstGeom prst="rect">
            <a:avLst/>
          </a:prstGeom>
          <a:solidFill>
            <a:srgbClr val="CF235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="" xmlns:a16="http://schemas.microsoft.com/office/drawing/2014/main" id="{BF24E274-FE80-43F9-A763-3A87DBCB99BA}"/>
              </a:ext>
            </a:extLst>
          </p:cNvPr>
          <p:cNvSpPr/>
          <p:nvPr userDrawn="1"/>
        </p:nvSpPr>
        <p:spPr>
          <a:xfrm>
            <a:off x="5458650" y="2879480"/>
            <a:ext cx="1103817" cy="1099039"/>
          </a:xfrm>
          <a:prstGeom prst="rect">
            <a:avLst/>
          </a:prstGeom>
          <a:solidFill>
            <a:srgbClr val="F0713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367E5F8A-5C48-4992-921F-75BCDE16D4F3}"/>
              </a:ext>
            </a:extLst>
          </p:cNvPr>
          <p:cNvSpPr/>
          <p:nvPr userDrawn="1"/>
        </p:nvSpPr>
        <p:spPr>
          <a:xfrm>
            <a:off x="6717518" y="2879479"/>
            <a:ext cx="1103817" cy="1099039"/>
          </a:xfrm>
          <a:prstGeom prst="rect">
            <a:avLst/>
          </a:prstGeom>
          <a:solidFill>
            <a:srgbClr val="F1B8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11A157E1-C2FD-45D5-B554-8F514970E8E0}"/>
              </a:ext>
            </a:extLst>
          </p:cNvPr>
          <p:cNvSpPr/>
          <p:nvPr userDrawn="1"/>
        </p:nvSpPr>
        <p:spPr>
          <a:xfrm>
            <a:off x="7976386" y="2879478"/>
            <a:ext cx="1103817" cy="1099039"/>
          </a:xfrm>
          <a:prstGeom prst="rect">
            <a:avLst/>
          </a:prstGeom>
          <a:solidFill>
            <a:srgbClr val="2088C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="" xmlns:a16="http://schemas.microsoft.com/office/drawing/2014/main" id="{425E2C35-D7BC-4769-BA58-1DB42695CCDB}"/>
              </a:ext>
            </a:extLst>
          </p:cNvPr>
          <p:cNvSpPr/>
          <p:nvPr userDrawn="1"/>
        </p:nvSpPr>
        <p:spPr>
          <a:xfrm>
            <a:off x="9235254" y="2879478"/>
            <a:ext cx="1103817" cy="1099039"/>
          </a:xfrm>
          <a:prstGeom prst="rect">
            <a:avLst/>
          </a:prstGeom>
          <a:solidFill>
            <a:srgbClr val="00BA7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EC944229-4098-4833-ABB3-25080527102D}"/>
              </a:ext>
            </a:extLst>
          </p:cNvPr>
          <p:cNvSpPr/>
          <p:nvPr userDrawn="1"/>
        </p:nvSpPr>
        <p:spPr>
          <a:xfrm>
            <a:off x="1173426" y="4400263"/>
            <a:ext cx="93301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EX      #00448d        #6260a7         #cf2353        #f07130           #fbb831        #2088c6         #00ba73</a:t>
            </a:r>
          </a:p>
        </p:txBody>
      </p:sp>
    </p:spTree>
    <p:extLst>
      <p:ext uri="{BB962C8B-B14F-4D97-AF65-F5344CB8AC3E}">
        <p14:creationId xmlns:p14="http://schemas.microsoft.com/office/powerpoint/2010/main" val="1912919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="" xmlns:a16="http://schemas.microsoft.com/office/drawing/2014/main" id="{7A983193-2A33-456E-8C52-3F0AD6911616}"/>
              </a:ext>
            </a:extLst>
          </p:cNvPr>
          <p:cNvSpPr/>
          <p:nvPr userDrawn="1"/>
        </p:nvSpPr>
        <p:spPr>
          <a:xfrm>
            <a:off x="-5422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3" name="Picture 12" descr="A person in a suit driving a car&#10;&#10;Description automatically generated with low confidence">
            <a:extLst>
              <a:ext uri="{FF2B5EF4-FFF2-40B4-BE49-F238E27FC236}">
                <a16:creationId xmlns="" xmlns:a16="http://schemas.microsoft.com/office/drawing/2014/main" id="{887270FD-FD8E-4553-94D7-27E3212BFE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="" xmlns:a16="http://schemas.microsoft.com/office/drawing/2014/main" id="{B8DA7AC8-0370-4CD9-9822-891166CE6BE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3A4C77B-72A9-43AE-84FE-99A54C398E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43A4C77B-72A9-43AE-84FE-99A54C398E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472B6B7D-016E-4CE7-96A0-16207038861F}"/>
              </a:ext>
            </a:extLst>
          </p:cNvPr>
          <p:cNvSpPr/>
          <p:nvPr userDrawn="1"/>
        </p:nvSpPr>
        <p:spPr>
          <a:xfrm>
            <a:off x="11354547" y="4221088"/>
            <a:ext cx="837453" cy="20428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EA46DEEE-F6A5-4570-A381-FE41625F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83068" b="-10697"/>
          <a:stretch/>
        </p:blipFill>
        <p:spPr>
          <a:xfrm>
            <a:off x="11616139" y="4398817"/>
            <a:ext cx="314268" cy="3287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7C0677A5-58AA-48F5-8518-897C43A57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855" t="-1" r="53790" b="-1"/>
          <a:stretch/>
        </p:blipFill>
        <p:spPr>
          <a:xfrm>
            <a:off x="11575099" y="4896573"/>
            <a:ext cx="396348" cy="29696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AB36E16E-1B67-4ED3-9701-2E62FC05C0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93" t="1" r="26596" b="5425"/>
          <a:stretch/>
        </p:blipFill>
        <p:spPr>
          <a:xfrm>
            <a:off x="11559731" y="5362565"/>
            <a:ext cx="427084" cy="28085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AF875ECA-AEEE-4AEB-BCB5-E09B63ABCA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989" t="1" b="5425"/>
          <a:stretch/>
        </p:blipFill>
        <p:spPr>
          <a:xfrm>
            <a:off x="11559731" y="5812444"/>
            <a:ext cx="427084" cy="28085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1D422211-70D8-4339-9CDC-22BC99C5117F}"/>
              </a:ext>
            </a:extLst>
          </p:cNvPr>
          <p:cNvSpPr/>
          <p:nvPr userDrawn="1"/>
        </p:nvSpPr>
        <p:spPr>
          <a:xfrm>
            <a:off x="5084047" y="4317774"/>
            <a:ext cx="6096000" cy="178510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1 408 508 6750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quiry@hillstonenet.com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01 Great </a:t>
            </a:r>
            <a:r>
              <a:rPr lang="en-US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rica</a:t>
            </a: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kwy</a:t>
            </a: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#420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ta Clara, CA 95054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hillstonenet.co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AFD16AF0-90B1-4FCE-B32D-97596FD1982D}"/>
              </a:ext>
            </a:extLst>
          </p:cNvPr>
          <p:cNvSpPr txBox="1"/>
          <p:nvPr userDrawn="1"/>
        </p:nvSpPr>
        <p:spPr>
          <a:xfrm>
            <a:off x="644234" y="4247978"/>
            <a:ext cx="3957115" cy="17351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4000"/>
              </a:lnSpc>
            </a:pPr>
            <a:r>
              <a:rPr lang="en-US" sz="4500" baseline="0" dirty="0">
                <a:solidFill>
                  <a:schemeClr val="bg1"/>
                </a:solidFill>
                <a:latin typeface="+mj-lt"/>
              </a:rPr>
              <a:t>Integrative </a:t>
            </a:r>
            <a:br>
              <a:rPr lang="en-US" sz="4500" baseline="0" dirty="0">
                <a:solidFill>
                  <a:schemeClr val="bg1"/>
                </a:solidFill>
                <a:latin typeface="+mj-lt"/>
              </a:rPr>
            </a:br>
            <a:r>
              <a:rPr lang="en-US" sz="4500" baseline="0" dirty="0">
                <a:solidFill>
                  <a:schemeClr val="bg1"/>
                </a:solidFill>
                <a:latin typeface="+mj-lt"/>
              </a:rPr>
              <a:t>Cyber </a:t>
            </a:r>
          </a:p>
          <a:p>
            <a:pPr>
              <a:lnSpc>
                <a:spcPts val="4000"/>
              </a:lnSpc>
            </a:pPr>
            <a:r>
              <a:rPr lang="en-US" sz="4500" baseline="0" dirty="0">
                <a:solidFill>
                  <a:schemeClr val="bg1"/>
                </a:solidFill>
                <a:latin typeface="+mj-lt"/>
              </a:rPr>
              <a:t>Security</a:t>
            </a:r>
          </a:p>
        </p:txBody>
      </p:sp>
      <p:pic>
        <p:nvPicPr>
          <p:cNvPr id="14" name="Graphic 3">
            <a:extLst>
              <a:ext uri="{FF2B5EF4-FFF2-40B4-BE49-F238E27FC236}">
                <a16:creationId xmlns="" xmlns:a16="http://schemas.microsoft.com/office/drawing/2014/main" id="{5A5F4D89-315A-4BD6-9AC0-3E7ABB79BE6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4234" y="1811830"/>
            <a:ext cx="1862619" cy="2150605"/>
          </a:xfrm>
          <a:prstGeom prst="rect">
            <a:avLst/>
          </a:prstGeom>
          <a:noFill/>
        </p:spPr>
      </p:pic>
      <p:grpSp>
        <p:nvGrpSpPr>
          <p:cNvPr id="15" name="Graphic 347">
            <a:extLst>
              <a:ext uri="{FF2B5EF4-FFF2-40B4-BE49-F238E27FC236}">
                <a16:creationId xmlns="" xmlns:a16="http://schemas.microsoft.com/office/drawing/2014/main" id="{825BC3FD-B922-45C2-8DB7-DFC8B6F394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39284" y="1264544"/>
            <a:ext cx="5303520" cy="1490951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16" name="Freeform: Shape 15">
              <a:extLst>
                <a:ext uri="{FF2B5EF4-FFF2-40B4-BE49-F238E27FC236}">
                  <a16:creationId xmlns="" xmlns:a16="http://schemas.microsoft.com/office/drawing/2014/main" id="{734D183B-7588-4778-AF5F-AE6564200069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="" xmlns:a16="http://schemas.microsoft.com/office/drawing/2014/main" id="{52231382-BA0D-46C8-9513-6ED0E4B48BF5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="" xmlns:a16="http://schemas.microsoft.com/office/drawing/2014/main" id="{F4669787-C0B2-4571-944B-06A2A05EEB7D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="" xmlns:a16="http://schemas.microsoft.com/office/drawing/2014/main" id="{AB4345B7-ADEC-4E6A-8BD2-8D02DA27BDB1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="" xmlns:a16="http://schemas.microsoft.com/office/drawing/2014/main" id="{183E1AAD-3ADF-4313-8B5E-DCC7E450E462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="" xmlns:a16="http://schemas.microsoft.com/office/drawing/2014/main" id="{DA4AE817-29E6-484D-8A96-228650B40052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="" xmlns:a16="http://schemas.microsoft.com/office/drawing/2014/main" id="{8A8B4FCE-27D4-4343-8344-8409E1149139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26E5D05B-151C-4274-972C-20512AF87B3B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1ACC7BEE-37D3-4A90-AF39-3E9DF94965F8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D4AE10F4-9EDF-42F3-88A5-CEBF66B7DA91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="" xmlns:a16="http://schemas.microsoft.com/office/drawing/2014/main" id="{C4FE3D3A-52B0-4F43-A9A4-A7EBC7BA8E9B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="" xmlns:a16="http://schemas.microsoft.com/office/drawing/2014/main" id="{9E3FB1F8-3DF5-4BE8-BAFD-042F6DDCFD74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="" xmlns:a16="http://schemas.microsoft.com/office/drawing/2014/main" id="{4C36D8D7-A8CF-4677-A010-610D838C8C4A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="" xmlns:a16="http://schemas.microsoft.com/office/drawing/2014/main" id="{C3F7BCB4-8FF7-4ADD-9AB9-7B5E6756928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="" xmlns:a16="http://schemas.microsoft.com/office/drawing/2014/main" id="{EAABB4FE-7565-4A24-92D5-D6126A2C4026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79913A03-6A67-4FEF-B864-A3ED51BC10AE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5F80E625-3712-4CFE-9388-8D2E44CD2A91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387350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3A4C77B-72A9-43AE-84FE-99A54C398E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F1E85A69-6A72-417A-84DC-70EB043C310F}"/>
              </a:ext>
            </a:extLst>
          </p:cNvPr>
          <p:cNvSpPr/>
          <p:nvPr/>
        </p:nvSpPr>
        <p:spPr>
          <a:xfrm>
            <a:off x="407368" y="296652"/>
            <a:ext cx="864096" cy="2875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1FCCAB0E-29F8-45BD-A096-666943D867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12126" y="6390196"/>
            <a:ext cx="3492424" cy="243160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lang="en-US" sz="1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8DDD52D-DC66-5F44-8763-B057E62EDC13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8788455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-5422" y="-1"/>
            <a:ext cx="12202845" cy="6858001"/>
            <a:chOff x="-5422" y="-1"/>
            <a:chExt cx="12202845" cy="6858001"/>
          </a:xfrm>
        </p:grpSpPr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71CE65C7-95A7-4DBD-B251-C224DC2CEB5D}"/>
                </a:ext>
              </a:extLst>
            </p:cNvPr>
            <p:cNvSpPr/>
            <p:nvPr userDrawn="1"/>
          </p:nvSpPr>
          <p:spPr>
            <a:xfrm>
              <a:off x="-5422" y="0"/>
              <a:ext cx="12202845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003285"/>
            </a:soli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tx2"/>
                </a:gs>
                <a:gs pos="0">
                  <a:schemeClr val="tx2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0" name="Graphic 59">
            <a:extLst>
              <a:ext uri="{FF2B5EF4-FFF2-40B4-BE49-F238E27FC236}">
                <a16:creationId xmlns="" xmlns:a16="http://schemas.microsoft.com/office/drawing/2014/main" id="{E4513AC4-5905-4072-BD5B-94A07FD3F9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423" y="-1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1" y="1448048"/>
            <a:ext cx="7236795" cy="439755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22338" y="2521047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22338" y="3286859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45F5CE12-49DA-41BD-A042-DDF73CDA1192}"/>
              </a:ext>
            </a:extLst>
          </p:cNvPr>
          <p:cNvSpPr/>
          <p:nvPr/>
        </p:nvSpPr>
        <p:spPr>
          <a:xfrm>
            <a:off x="3822338" y="4017493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35629" y="2502945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35629" y="3242381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="" xmlns:a16="http://schemas.microsoft.com/office/drawing/2014/main" id="{5F579A53-D4B9-4100-AC81-BA07F5474308}"/>
              </a:ext>
            </a:extLst>
          </p:cNvPr>
          <p:cNvCxnSpPr/>
          <p:nvPr userDrawn="1"/>
        </p:nvCxnSpPr>
        <p:spPr>
          <a:xfrm>
            <a:off x="4735629" y="3999391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674741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642297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408109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8" name="Text Placeholder 81">
            <a:extLst>
              <a:ext uri="{FF2B5EF4-FFF2-40B4-BE49-F238E27FC236}">
                <a16:creationId xmlns="" xmlns:a16="http://schemas.microsoft.com/office/drawing/2014/main" id="{36BD41E2-2AE9-440C-8339-F4869A3125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138743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440553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="" xmlns:a16="http://schemas.microsoft.com/office/drawing/2014/main" id="{464CCEC9-2CCD-47D0-BC2E-5256B144D5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171187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Slide Number Placeholder 5">
            <a:extLst>
              <a:ext uri="{FF2B5EF4-FFF2-40B4-BE49-F238E27FC236}">
                <a16:creationId xmlns="" xmlns:a16="http://schemas.microsoft.com/office/drawing/2014/main" id="{9CC29561-E6FE-2E94-E278-48E791DC776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2B03F98C-33A1-4D95-8E60-2D816F2335CD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AC7FBA00-4CF1-49D8-932B-A30BEF9AFEC2}"/>
              </a:ext>
            </a:extLst>
          </p:cNvPr>
          <p:cNvSpPr/>
          <p:nvPr userDrawn="1"/>
        </p:nvSpPr>
        <p:spPr>
          <a:xfrm>
            <a:off x="3816617" y="4819334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="" xmlns:a16="http://schemas.microsoft.com/office/drawing/2014/main" id="{EACC9F01-CEB6-4F2C-AD9D-FD39AF167267}"/>
              </a:ext>
            </a:extLst>
          </p:cNvPr>
          <p:cNvCxnSpPr/>
          <p:nvPr userDrawn="1"/>
        </p:nvCxnSpPr>
        <p:spPr>
          <a:xfrm>
            <a:off x="4729908" y="4801232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Placeholder 81">
            <a:extLst>
              <a:ext uri="{FF2B5EF4-FFF2-40B4-BE49-F238E27FC236}">
                <a16:creationId xmlns="" xmlns:a16="http://schemas.microsoft.com/office/drawing/2014/main" id="{3CA777D2-9DFA-43D9-8AEC-FC420BAA033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32042" y="494058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5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="" xmlns:a16="http://schemas.microsoft.com/office/drawing/2014/main" id="{4CF1BC7F-7028-4F2C-9696-EA79E1B9E80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55393" y="4973028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551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-5422" y="-1"/>
            <a:ext cx="12202845" cy="6858001"/>
            <a:chOff x="-5422" y="-1"/>
            <a:chExt cx="12202845" cy="6858001"/>
          </a:xfrm>
        </p:grpSpPr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71CE65C7-95A7-4DBD-B251-C224DC2CEB5D}"/>
                </a:ext>
              </a:extLst>
            </p:cNvPr>
            <p:cNvSpPr/>
            <p:nvPr userDrawn="1"/>
          </p:nvSpPr>
          <p:spPr>
            <a:xfrm>
              <a:off x="-5422" y="0"/>
              <a:ext cx="12202845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003285"/>
            </a:soli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tx2"/>
                </a:gs>
                <a:gs pos="0">
                  <a:schemeClr val="tx2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0" name="Graphic 59">
            <a:extLst>
              <a:ext uri="{FF2B5EF4-FFF2-40B4-BE49-F238E27FC236}">
                <a16:creationId xmlns="" xmlns:a16="http://schemas.microsoft.com/office/drawing/2014/main" id="{E4513AC4-5905-4072-BD5B-94A07FD3F9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423" y="-1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1" y="1448048"/>
            <a:ext cx="7236795" cy="439755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30433" y="3170181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36123" y="4593275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52260" y="2854644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61114" y="4244703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9209" y="3323875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45858" y="3291431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1548" y="4714525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74899" y="4746969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Slide Number Placeholder 5">
            <a:extLst>
              <a:ext uri="{FF2B5EF4-FFF2-40B4-BE49-F238E27FC236}">
                <a16:creationId xmlns="" xmlns:a16="http://schemas.microsoft.com/office/drawing/2014/main" id="{9CC29561-E6FE-2E94-E278-48E791DC776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2B03F98C-33A1-4D95-8E60-2D816F2335CD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</p:spTree>
    <p:extLst>
      <p:ext uri="{BB962C8B-B14F-4D97-AF65-F5344CB8AC3E}">
        <p14:creationId xmlns:p14="http://schemas.microsoft.com/office/powerpoint/2010/main" val="20616865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gradFill>
          <a:gsLst>
            <a:gs pos="96599">
              <a:schemeClr val="tx1">
                <a:alpha val="90000"/>
              </a:schemeClr>
            </a:gs>
            <a:gs pos="50000">
              <a:schemeClr val="tx2">
                <a:alpha val="90000"/>
              </a:schemeClr>
            </a:gs>
            <a:gs pos="0">
              <a:schemeClr val="tx1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>
            <a:extLst>
              <a:ext uri="{FF2B5EF4-FFF2-40B4-BE49-F238E27FC236}">
                <a16:creationId xmlns="" xmlns:a16="http://schemas.microsoft.com/office/drawing/2014/main" id="{099CB7C3-3AF3-456F-878B-AB144F66A4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6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5423" y="0"/>
            <a:ext cx="12204700" cy="6858000"/>
          </a:xfrm>
          <a:prstGeom prst="rect">
            <a:avLst/>
          </a:prstGeom>
        </p:spPr>
      </p:pic>
      <p:sp>
        <p:nvSpPr>
          <p:cNvPr id="27" name="Freeform: Shape 26">
            <a:extLst>
              <a:ext uri="{FF2B5EF4-FFF2-40B4-BE49-F238E27FC236}">
                <a16:creationId xmlns="" xmlns:a16="http://schemas.microsoft.com/office/drawing/2014/main" id="{59022E9A-9B99-434A-914C-0FC620165F81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>
              <a:alpha val="92000"/>
            </a:srgbClr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="" xmlns:a16="http://schemas.microsoft.com/office/drawing/2014/main" id="{1AB707D5-5A17-4BF7-85A4-F4541BCC764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8000"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54" name="Title 1">
            <a:extLst>
              <a:ext uri="{FF2B5EF4-FFF2-40B4-BE49-F238E27FC236}">
                <a16:creationId xmlns="" xmlns:a16="http://schemas.microsoft.com/office/drawing/2014/main" id="{0B337F67-132B-48F7-B2A1-BBF90AB075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3589" y="2060848"/>
            <a:ext cx="11044822" cy="132959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55" name="Subtitle 2">
            <a:extLst>
              <a:ext uri="{FF2B5EF4-FFF2-40B4-BE49-F238E27FC236}">
                <a16:creationId xmlns="" xmlns:a16="http://schemas.microsoft.com/office/drawing/2014/main" id="{9FEECED3-AF94-47A1-B7FF-FF07EFF314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3590" y="3501001"/>
            <a:ext cx="11044822" cy="10069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="" xmlns:a16="http://schemas.microsoft.com/office/drawing/2014/main" id="{CAC179F6-A0A0-49F9-B596-C483712593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588" y="4618531"/>
            <a:ext cx="11044826" cy="39528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algn="ctr">
              <a:defRPr lang="en-US" sz="1800" dirty="0" smtClean="0">
                <a:solidFill>
                  <a:schemeClr val="bg1"/>
                </a:solidFill>
              </a:defRPr>
            </a:lvl1pPr>
            <a:lvl2pPr>
              <a:defRPr lang="en-US" sz="2000" dirty="0" smtClean="0"/>
            </a:lvl2pPr>
            <a:lvl3pPr>
              <a:defRPr lang="en-US" sz="18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L="0" lvl="0" indent="0" algn="ctr">
              <a:buNone/>
            </a:pPr>
            <a:r>
              <a:rPr lang="en-US" dirty="0"/>
              <a:t>Click to add text</a:t>
            </a:r>
          </a:p>
        </p:txBody>
      </p:sp>
      <p:grpSp>
        <p:nvGrpSpPr>
          <p:cNvPr id="59" name="Graphic 347">
            <a:extLst>
              <a:ext uri="{FF2B5EF4-FFF2-40B4-BE49-F238E27FC236}">
                <a16:creationId xmlns="" xmlns:a16="http://schemas.microsoft.com/office/drawing/2014/main" id="{02FBB0C6-91BB-493F-80C6-E8B8901B9223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60" name="Freeform: Shape 59">
              <a:extLst>
                <a:ext uri="{FF2B5EF4-FFF2-40B4-BE49-F238E27FC236}">
                  <a16:creationId xmlns="" xmlns:a16="http://schemas.microsoft.com/office/drawing/2014/main" id="{5A6797CE-CBDF-429D-AECC-CDEB7CED0E78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="" xmlns:a16="http://schemas.microsoft.com/office/drawing/2014/main" id="{4526790A-822C-41F7-9D82-E9E1DCF198ED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D2A22251-0F22-4087-9828-5249A7662E5D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E15467E7-F178-4261-8CCD-5F7BEF307F8E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FF2E5306-28D0-42DE-A649-94F0487DE85F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2022588E-52AE-4247-BA17-BFC473DE4C3A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7249BE46-5FC0-4C81-AEBF-4C568DF27378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="" xmlns:a16="http://schemas.microsoft.com/office/drawing/2014/main" id="{42A30933-F972-4E7C-9851-9049D1325763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="" xmlns:a16="http://schemas.microsoft.com/office/drawing/2014/main" id="{EC3F282D-4B53-4EF0-BD07-11DB8E889272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="" xmlns:a16="http://schemas.microsoft.com/office/drawing/2014/main" id="{6AF9A02D-C058-45FB-BDC4-CC07F8CB907E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="" xmlns:a16="http://schemas.microsoft.com/office/drawing/2014/main" id="{78EE3C90-4C90-4558-84D6-56DC4DFFA534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="" xmlns:a16="http://schemas.microsoft.com/office/drawing/2014/main" id="{4DFA3985-2C4F-43EC-985E-6C07AF19FD23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="" xmlns:a16="http://schemas.microsoft.com/office/drawing/2014/main" id="{25B6C8A8-8FE2-4AA7-9732-C9700AB45F62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="" xmlns:a16="http://schemas.microsoft.com/office/drawing/2014/main" id="{FD2689DA-F6DD-4866-A4C2-92DF1145B241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="" xmlns:a16="http://schemas.microsoft.com/office/drawing/2014/main" id="{70B58160-1E3D-44C2-97E2-17918917FEE6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="" xmlns:a16="http://schemas.microsoft.com/office/drawing/2014/main" id="{4F16F253-B969-481D-978C-B7DD4CCEE44E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2599CED2-1414-4843-945B-6FA8B45F607F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F5AB36BE-E8F8-4B6C-B0BB-8E5EB66AFB8D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430B6608-2B71-4C12-94A9-EA532F99139D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32" name="Slide Number Placeholder 5">
            <a:extLst>
              <a:ext uri="{FF2B5EF4-FFF2-40B4-BE49-F238E27FC236}">
                <a16:creationId xmlns="" xmlns:a16="http://schemas.microsoft.com/office/drawing/2014/main" id="{5295E70C-227E-5D21-D9C5-023A8D85F6C5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6693928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27688547-0AE5-4951-9CB6-DAB32E08ED3E}"/>
              </a:ext>
            </a:extLst>
          </p:cNvPr>
          <p:cNvSpPr/>
          <p:nvPr userDrawn="1"/>
        </p:nvSpPr>
        <p:spPr>
          <a:xfrm>
            <a:off x="1527858" y="1770138"/>
            <a:ext cx="10085378" cy="3766271"/>
          </a:xfrm>
          <a:prstGeom prst="rect">
            <a:avLst/>
          </a:prstGeom>
          <a:gradFill flip="none" rotWithShape="1">
            <a:gsLst>
              <a:gs pos="70000">
                <a:schemeClr val="tx2">
                  <a:lumMod val="60000"/>
                  <a:lumOff val="40000"/>
                  <a:alpha val="57000"/>
                </a:schemeClr>
              </a:gs>
              <a:gs pos="0">
                <a:schemeClr val="tx2">
                  <a:lumMod val="7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F9789DEC-04EA-4ACA-A36F-A326EB69E3F4}"/>
              </a:ext>
            </a:extLst>
          </p:cNvPr>
          <p:cNvSpPr/>
          <p:nvPr userDrawn="1"/>
        </p:nvSpPr>
        <p:spPr>
          <a:xfrm>
            <a:off x="595930" y="3018656"/>
            <a:ext cx="1247669" cy="1269235"/>
          </a:xfrm>
          <a:prstGeom prst="ellipse">
            <a:avLst/>
          </a:prstGeom>
          <a:solidFill>
            <a:schemeClr val="tx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="" xmlns:a16="http://schemas.microsoft.com/office/drawing/2014/main" id="{81261066-6461-40C8-9368-BDAE0B244B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10765" y="2865623"/>
            <a:ext cx="9027697" cy="1575300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60" name="Text Placeholder 81">
            <a:extLst>
              <a:ext uri="{FF2B5EF4-FFF2-40B4-BE49-F238E27FC236}">
                <a16:creationId xmlns="" xmlns:a16="http://schemas.microsoft.com/office/drawing/2014/main" id="{A9312E8A-8632-461B-811E-7B4E557C1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5708" y="3209219"/>
            <a:ext cx="888112" cy="888108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3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grpSp>
        <p:nvGrpSpPr>
          <p:cNvPr id="61" name="Graphic 347">
            <a:extLst>
              <a:ext uri="{FF2B5EF4-FFF2-40B4-BE49-F238E27FC236}">
                <a16:creationId xmlns="" xmlns:a16="http://schemas.microsoft.com/office/drawing/2014/main" id="{F4088751-9B0D-4AB0-BD71-2318CF9F6749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CD53847C-A343-4AD8-AE3E-ED8CA2A3EFC1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FCE766D4-5A69-4146-B98E-DFD948C6EEF1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E4E78254-F031-449D-B4B7-42FA11B592CB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8EE6E027-604F-4967-B9F1-8A3337A36085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B9A97006-E02C-4196-8EBF-422492029671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="" xmlns:a16="http://schemas.microsoft.com/office/drawing/2014/main" id="{7B3A8559-9623-4877-8EF7-13DC8A8AC081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="" xmlns:a16="http://schemas.microsoft.com/office/drawing/2014/main" id="{8CA07576-6BBF-475C-B45C-4FBF135119F0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="" xmlns:a16="http://schemas.microsoft.com/office/drawing/2014/main" id="{2A725359-EC87-4AA4-9937-FDBBA9C446E6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="" xmlns:a16="http://schemas.microsoft.com/office/drawing/2014/main" id="{99878E88-CA5A-490D-9E67-CBA439E6E202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="" xmlns:a16="http://schemas.microsoft.com/office/drawing/2014/main" id="{44662999-C7C0-474A-B1E3-DEC76B3846D1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="" xmlns:a16="http://schemas.microsoft.com/office/drawing/2014/main" id="{2B325F7F-CDFD-4BF0-9A58-30879304F651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="" xmlns:a16="http://schemas.microsoft.com/office/drawing/2014/main" id="{5E914BCC-4C99-4FEB-9AFB-DD6FA8454981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="" xmlns:a16="http://schemas.microsoft.com/office/drawing/2014/main" id="{AF433652-DA8C-44F1-BC22-63EA788D3141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="" xmlns:a16="http://schemas.microsoft.com/office/drawing/2014/main" id="{C3A525D4-F0E6-4A9D-8F10-13122A155BF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E231CD25-DBAB-4062-8615-ACE4F07547E4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1614662C-10A4-4DFA-8F07-B30F868B301B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7748BF2-C1B1-4887-B555-DF854BC495C6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Slide Number Placeholder 5">
            <a:extLst>
              <a:ext uri="{FF2B5EF4-FFF2-40B4-BE49-F238E27FC236}">
                <a16:creationId xmlns="" xmlns:a16="http://schemas.microsoft.com/office/drawing/2014/main" id="{D924A884-E4E8-FB87-6944-B4A27DFFCD48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815379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Colom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54" name="Text Placeholder 2">
            <a:extLst>
              <a:ext uri="{FF2B5EF4-FFF2-40B4-BE49-F238E27FC236}">
                <a16:creationId xmlns="" xmlns:a16="http://schemas.microsoft.com/office/drawing/2014/main" id="{2D2288DA-6FF5-453E-ADFB-CC12B0E3AE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825625"/>
            <a:ext cx="11017250" cy="41846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2000" b="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68288" lvl="0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="" xmlns:a16="http://schemas.microsoft.com/office/drawing/2014/main" id="{6683D930-CB58-CEEF-CE14-952BAD6B2D07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24532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nd Colom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4" name="Table Placeholder 2">
            <a:extLst>
              <a:ext uri="{FF2B5EF4-FFF2-40B4-BE49-F238E27FC236}">
                <a16:creationId xmlns="" xmlns:a16="http://schemas.microsoft.com/office/drawing/2014/main" id="{B2D0B085-0C99-44A5-A5D6-B204BEB87F5E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587374" y="1825625"/>
            <a:ext cx="11028773" cy="4264108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3200"/>
            </a:lvl1pPr>
          </a:lstStyle>
          <a:p>
            <a:r>
              <a:rPr lang="en-US" dirty="0"/>
              <a:t>Your Table Here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="" xmlns:a16="http://schemas.microsoft.com/office/drawing/2014/main" id="{7BA7374E-4AB2-E6C2-009C-313A30813D4F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A68610F4-4B4C-4894-9C14-7607B8126216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</p:spTree>
    <p:extLst>
      <p:ext uri="{BB962C8B-B14F-4D97-AF65-F5344CB8AC3E}">
        <p14:creationId xmlns:p14="http://schemas.microsoft.com/office/powerpoint/2010/main" val="20213475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o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="" xmlns:a16="http://schemas.microsoft.com/office/drawing/2014/main" id="{BACF5228-8984-4F81-863A-26424396DD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6" cy="2635322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36000">
                <a:schemeClr val="tx2"/>
              </a:gs>
              <a:gs pos="0">
                <a:schemeClr val="tx2">
                  <a:alpha val="60000"/>
                </a:schemeClr>
              </a:gs>
            </a:gsLst>
            <a:lin ang="5400000" scaled="0"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8000"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9" y="0"/>
            <a:ext cx="12191322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cxnSp>
        <p:nvCxnSpPr>
          <p:cNvPr id="58" name="Straight Connector 57">
            <a:extLst>
              <a:ext uri="{FF2B5EF4-FFF2-40B4-BE49-F238E27FC236}">
                <a16:creationId xmlns="" xmlns:a16="http://schemas.microsoft.com/office/drawing/2014/main" id="{B50C4A29-36E4-4505-BDBF-35AC80A3BBFB}"/>
              </a:ext>
            </a:extLst>
          </p:cNvPr>
          <p:cNvCxnSpPr>
            <a:cxnSpLocks/>
          </p:cNvCxnSpPr>
          <p:nvPr userDrawn="1"/>
        </p:nvCxnSpPr>
        <p:spPr>
          <a:xfrm>
            <a:off x="587374" y="5882242"/>
            <a:ext cx="11017238" cy="0"/>
          </a:xfrm>
          <a:prstGeom prst="line">
            <a:avLst/>
          </a:prstGeom>
          <a:ln w="3175">
            <a:solidFill>
              <a:schemeClr val="bg1"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Diagonal Corners Rounded 58">
            <a:extLst>
              <a:ext uri="{FF2B5EF4-FFF2-40B4-BE49-F238E27FC236}">
                <a16:creationId xmlns="" xmlns:a16="http://schemas.microsoft.com/office/drawing/2014/main" id="{4A7EA79B-750E-4451-9EB2-A4A922286213}"/>
              </a:ext>
            </a:extLst>
          </p:cNvPr>
          <p:cNvSpPr/>
          <p:nvPr userDrawn="1"/>
        </p:nvSpPr>
        <p:spPr>
          <a:xfrm>
            <a:off x="596900" y="2635321"/>
            <a:ext cx="3458413" cy="1633127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: Diagonal Corners Rounded 59">
            <a:extLst>
              <a:ext uri="{FF2B5EF4-FFF2-40B4-BE49-F238E27FC236}">
                <a16:creationId xmlns="" xmlns:a16="http://schemas.microsoft.com/office/drawing/2014/main" id="{FC97A4C4-961B-41AE-983C-54FBAD645431}"/>
              </a:ext>
            </a:extLst>
          </p:cNvPr>
          <p:cNvSpPr/>
          <p:nvPr userDrawn="1"/>
        </p:nvSpPr>
        <p:spPr>
          <a:xfrm>
            <a:off x="4371556" y="2635321"/>
            <a:ext cx="3458413" cy="1633127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: Diagonal Corners Rounded 60">
            <a:extLst>
              <a:ext uri="{FF2B5EF4-FFF2-40B4-BE49-F238E27FC236}">
                <a16:creationId xmlns="" xmlns:a16="http://schemas.microsoft.com/office/drawing/2014/main" id="{CEB84216-5DB0-4161-ACE1-2183FBB7BCB6}"/>
              </a:ext>
            </a:extLst>
          </p:cNvPr>
          <p:cNvSpPr/>
          <p:nvPr userDrawn="1"/>
        </p:nvSpPr>
        <p:spPr>
          <a:xfrm>
            <a:off x="8146213" y="2635321"/>
            <a:ext cx="3458413" cy="1633127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="" xmlns:a16="http://schemas.microsoft.com/office/drawing/2014/main" id="{8EB60838-D8F1-4D34-B4DE-A4B5CE64CA7B}"/>
              </a:ext>
            </a:extLst>
          </p:cNvPr>
          <p:cNvSpPr/>
          <p:nvPr userDrawn="1"/>
        </p:nvSpPr>
        <p:spPr>
          <a:xfrm>
            <a:off x="1690788" y="1996355"/>
            <a:ext cx="1270636" cy="1269072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CD83E058-6F5B-4B66-B277-4902C7ED5619}"/>
              </a:ext>
            </a:extLst>
          </p:cNvPr>
          <p:cNvSpPr/>
          <p:nvPr userDrawn="1"/>
        </p:nvSpPr>
        <p:spPr>
          <a:xfrm>
            <a:off x="9240101" y="1996355"/>
            <a:ext cx="1270636" cy="1269072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307DA787-3E29-49F6-AA27-E67BFB0B53ED}"/>
              </a:ext>
            </a:extLst>
          </p:cNvPr>
          <p:cNvSpPr/>
          <p:nvPr userDrawn="1"/>
        </p:nvSpPr>
        <p:spPr>
          <a:xfrm>
            <a:off x="5465444" y="1996355"/>
            <a:ext cx="1270636" cy="1269072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Text Placeholder 71">
            <a:extLst>
              <a:ext uri="{FF2B5EF4-FFF2-40B4-BE49-F238E27FC236}">
                <a16:creationId xmlns="" xmlns:a16="http://schemas.microsoft.com/office/drawing/2014/main" id="{FC29CB43-D2B1-4CC0-BE79-91CC5F99E3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7981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7" name="Text Placeholder 73">
            <a:extLst>
              <a:ext uri="{FF2B5EF4-FFF2-40B4-BE49-F238E27FC236}">
                <a16:creationId xmlns="" xmlns:a16="http://schemas.microsoft.com/office/drawing/2014/main" id="{2DFB4D47-FB01-4EA5-AC66-F352CBE2EB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7981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="" xmlns:a16="http://schemas.microsoft.com/office/drawing/2014/main" id="{3A08ACF7-7E28-404A-A151-581344786E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32637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3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="" xmlns:a16="http://schemas.microsoft.com/office/drawing/2014/main" id="{2BA66F4D-3873-42BA-908F-194108F699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2637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="" xmlns:a16="http://schemas.microsoft.com/office/drawing/2014/main" id="{FDC15A62-417F-476E-A734-CE5A866EB5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07294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1" name="Text Placeholder 73">
            <a:extLst>
              <a:ext uri="{FF2B5EF4-FFF2-40B4-BE49-F238E27FC236}">
                <a16:creationId xmlns="" xmlns:a16="http://schemas.microsoft.com/office/drawing/2014/main" id="{434928DB-C662-4418-A5B0-C1C406A07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07294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215BFB8B-08B5-4C9F-A75F-96C9A71CC82F}"/>
              </a:ext>
            </a:extLst>
          </p:cNvPr>
          <p:cNvSpPr/>
          <p:nvPr userDrawn="1"/>
        </p:nvSpPr>
        <p:spPr>
          <a:xfrm>
            <a:off x="1881506" y="2186291"/>
            <a:ext cx="889200" cy="88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812D96FC-E2FF-4B69-AEDE-CFDD39B7A90E}"/>
              </a:ext>
            </a:extLst>
          </p:cNvPr>
          <p:cNvSpPr/>
          <p:nvPr userDrawn="1"/>
        </p:nvSpPr>
        <p:spPr>
          <a:xfrm>
            <a:off x="5648071" y="2186291"/>
            <a:ext cx="889200" cy="889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="" xmlns:a16="http://schemas.microsoft.com/office/drawing/2014/main" id="{7BD8B4CE-C325-437C-9483-045285A78F7F}"/>
              </a:ext>
            </a:extLst>
          </p:cNvPr>
          <p:cNvSpPr/>
          <p:nvPr userDrawn="1"/>
        </p:nvSpPr>
        <p:spPr>
          <a:xfrm>
            <a:off x="9422727" y="2186291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Graphic 53">
            <a:extLst>
              <a:ext uri="{FF2B5EF4-FFF2-40B4-BE49-F238E27FC236}">
                <a16:creationId xmlns="" xmlns:a16="http://schemas.microsoft.com/office/drawing/2014/main" id="{2971858A-D564-4F6E-AE82-0EBA8A238A8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89602" y="2394387"/>
            <a:ext cx="473009" cy="473009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="" xmlns:a16="http://schemas.microsoft.com/office/drawing/2014/main" id="{6C6CB49B-8647-4BBE-9E51-3C29C0E627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63045" y="2401265"/>
            <a:ext cx="459252" cy="459252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="" xmlns:a16="http://schemas.microsoft.com/office/drawing/2014/main" id="{AEAB82B9-AE7E-4BA0-B1FA-9A244C345BF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52508" y="2416072"/>
            <a:ext cx="429638" cy="429638"/>
          </a:xfrm>
          <a:prstGeom prst="rect">
            <a:avLst/>
          </a:prstGeom>
        </p:spPr>
      </p:pic>
      <p:sp>
        <p:nvSpPr>
          <p:cNvPr id="64" name="Slide Number Placeholder 5">
            <a:extLst>
              <a:ext uri="{FF2B5EF4-FFF2-40B4-BE49-F238E27FC236}">
                <a16:creationId xmlns="" xmlns:a16="http://schemas.microsoft.com/office/drawing/2014/main" id="{BC166AA1-A65B-0044-1EA4-7AE761EF2C2E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899635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380F1D03-9181-4195-9526-709EBA2A7B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993118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380F1D03-9181-4195-9526-709EBA2A7B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389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698" r:id="rId2"/>
    <p:sldLayoutId id="2147483843" r:id="rId3"/>
    <p:sldLayoutId id="2147483840" r:id="rId4"/>
    <p:sldLayoutId id="2147483696" r:id="rId5"/>
    <p:sldLayoutId id="2147483699" r:id="rId6"/>
    <p:sldLayoutId id="2147483658" r:id="rId7"/>
    <p:sldLayoutId id="2147483745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844" r:id="rId14"/>
    <p:sldLayoutId id="2147483841" r:id="rId15"/>
    <p:sldLayoutId id="2147483705" r:id="rId16"/>
    <p:sldLayoutId id="2147483655" r:id="rId17"/>
    <p:sldLayoutId id="2147483746" r:id="rId18"/>
    <p:sldLayoutId id="2147483743" r:id="rId19"/>
    <p:sldLayoutId id="2147483744" r:id="rId20"/>
    <p:sldLayoutId id="2147483706" r:id="rId21"/>
    <p:sldLayoutId id="2147483707" r:id="rId22"/>
    <p:sldLayoutId id="2147483708" r:id="rId23"/>
    <p:sldLayoutId id="2147483709" r:id="rId24"/>
    <p:sldLayoutId id="2147483842" r:id="rId25"/>
    <p:sldLayoutId id="2147483839" r:id="rId26"/>
    <p:sldLayoutId id="2147483846" r:id="rId2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2">
          <p15:clr>
            <a:srgbClr val="F26B43"/>
          </p15:clr>
        </p15:guide>
        <p15:guide id="2" pos="7310">
          <p15:clr>
            <a:srgbClr val="F26B43"/>
          </p15:clr>
        </p15:guide>
        <p15:guide id="3" pos="37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36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emf"/><Relationship Id="rId13" Type="http://schemas.openxmlformats.org/officeDocument/2006/relationships/image" Target="../media/image63.emf"/><Relationship Id="rId18" Type="http://schemas.openxmlformats.org/officeDocument/2006/relationships/image" Target="../media/image75.PNG"/><Relationship Id="rId3" Type="http://schemas.openxmlformats.org/officeDocument/2006/relationships/image" Target="../media/image54.emf"/><Relationship Id="rId21" Type="http://schemas.openxmlformats.org/officeDocument/2006/relationships/image" Target="../media/image78.png"/><Relationship Id="rId7" Type="http://schemas.openxmlformats.org/officeDocument/2006/relationships/image" Target="../media/image55.emf"/><Relationship Id="rId12" Type="http://schemas.openxmlformats.org/officeDocument/2006/relationships/image" Target="../media/image63.svg"/><Relationship Id="rId17" Type="http://schemas.openxmlformats.org/officeDocument/2006/relationships/image" Target="../media/image74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73.png"/><Relationship Id="rId20" Type="http://schemas.openxmlformats.org/officeDocument/2006/relationships/image" Target="../media/image7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9.emf"/><Relationship Id="rId11" Type="http://schemas.openxmlformats.org/officeDocument/2006/relationships/image" Target="../media/image72.png"/><Relationship Id="rId5" Type="http://schemas.openxmlformats.org/officeDocument/2006/relationships/image" Target="../media/image59.emf"/><Relationship Id="rId15" Type="http://schemas.openxmlformats.org/officeDocument/2006/relationships/image" Target="../media/image50.emf"/><Relationship Id="rId23" Type="http://schemas.openxmlformats.org/officeDocument/2006/relationships/image" Target="../media/image80.jpeg"/><Relationship Id="rId10" Type="http://schemas.openxmlformats.org/officeDocument/2006/relationships/image" Target="../media/image61.svg"/><Relationship Id="rId19" Type="http://schemas.openxmlformats.org/officeDocument/2006/relationships/image" Target="../media/image76.png"/><Relationship Id="rId4" Type="http://schemas.openxmlformats.org/officeDocument/2006/relationships/image" Target="../media/image68.emf"/><Relationship Id="rId9" Type="http://schemas.openxmlformats.org/officeDocument/2006/relationships/image" Target="../media/image71.png"/><Relationship Id="rId14" Type="http://schemas.openxmlformats.org/officeDocument/2006/relationships/image" Target="../media/image51.emf"/><Relationship Id="rId22" Type="http://schemas.openxmlformats.org/officeDocument/2006/relationships/image" Target="../media/image7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emf"/><Relationship Id="rId13" Type="http://schemas.openxmlformats.org/officeDocument/2006/relationships/image" Target="../media/image30.emf"/><Relationship Id="rId3" Type="http://schemas.openxmlformats.org/officeDocument/2006/relationships/image" Target="../media/image89.emf"/><Relationship Id="rId7" Type="http://schemas.openxmlformats.org/officeDocument/2006/relationships/image" Target="../media/image91.emf"/><Relationship Id="rId12" Type="http://schemas.openxmlformats.org/officeDocument/2006/relationships/image" Target="../media/image60.emf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0.png"/><Relationship Id="rId11" Type="http://schemas.openxmlformats.org/officeDocument/2006/relationships/image" Target="../media/image95.png"/><Relationship Id="rId5" Type="http://schemas.openxmlformats.org/officeDocument/2006/relationships/image" Target="../media/image37.emf"/><Relationship Id="rId10" Type="http://schemas.openxmlformats.org/officeDocument/2006/relationships/image" Target="../media/image94.tiff"/><Relationship Id="rId4" Type="http://schemas.openxmlformats.org/officeDocument/2006/relationships/image" Target="../media/image70.emf"/><Relationship Id="rId9" Type="http://schemas.openxmlformats.org/officeDocument/2006/relationships/image" Target="../media/image93.emf"/><Relationship Id="rId14" Type="http://schemas.openxmlformats.org/officeDocument/2006/relationships/image" Target="../media/image9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0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5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7" Type="http://schemas.openxmlformats.org/officeDocument/2006/relationships/image" Target="../media/image1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3" Type="http://schemas.openxmlformats.org/officeDocument/2006/relationships/image" Target="../media/image120.png"/><Relationship Id="rId7" Type="http://schemas.openxmlformats.org/officeDocument/2006/relationships/image" Target="../media/image50.emf"/><Relationship Id="rId12" Type="http://schemas.openxmlformats.org/officeDocument/2006/relationships/image" Target="../media/image1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1.emf"/><Relationship Id="rId11" Type="http://schemas.openxmlformats.org/officeDocument/2006/relationships/image" Target="../media/image55.emf"/><Relationship Id="rId5" Type="http://schemas.openxmlformats.org/officeDocument/2006/relationships/image" Target="../media/image63.emf"/><Relationship Id="rId10" Type="http://schemas.openxmlformats.org/officeDocument/2006/relationships/image" Target="../media/image69.emf"/><Relationship Id="rId4" Type="http://schemas.openxmlformats.org/officeDocument/2006/relationships/image" Target="../media/image121.png"/><Relationship Id="rId9" Type="http://schemas.openxmlformats.org/officeDocument/2006/relationships/image" Target="../media/image59.emf"/></Relationships>
</file>

<file path=ppt/slides/_rels/slide29.xml.rels><?xml version="1.0" encoding="UTF-8" standalone="yes"?>
<Relationships xmlns="http://schemas.openxmlformats.org/package/2006/relationships"><Relationship Id="rId18" Type="http://schemas.openxmlformats.org/officeDocument/2006/relationships/image" Target="../media/image143.svg"/><Relationship Id="rId26" Type="http://schemas.openxmlformats.org/officeDocument/2006/relationships/image" Target="../media/image131.png"/><Relationship Id="rId3" Type="http://schemas.openxmlformats.org/officeDocument/2006/relationships/image" Target="../media/image123.png"/><Relationship Id="rId21" Type="http://schemas.openxmlformats.org/officeDocument/2006/relationships/image" Target="../media/image126.png"/><Relationship Id="rId25" Type="http://schemas.openxmlformats.org/officeDocument/2006/relationships/image" Target="../media/image130.png"/><Relationship Id="rId2" Type="http://schemas.openxmlformats.org/officeDocument/2006/relationships/notesSlide" Target="../notesSlides/notesSlide21.xml"/><Relationship Id="rId20" Type="http://schemas.openxmlformats.org/officeDocument/2006/relationships/image" Target="../media/image125.png"/><Relationship Id="rId1" Type="http://schemas.openxmlformats.org/officeDocument/2006/relationships/slideLayout" Target="../slideLayouts/slideLayout18.xml"/><Relationship Id="rId24" Type="http://schemas.openxmlformats.org/officeDocument/2006/relationships/image" Target="../media/image129.png"/><Relationship Id="rId23" Type="http://schemas.openxmlformats.org/officeDocument/2006/relationships/image" Target="../media/image128.png"/><Relationship Id="rId19" Type="http://schemas.openxmlformats.org/officeDocument/2006/relationships/image" Target="../media/image124.png"/><Relationship Id="rId22" Type="http://schemas.openxmlformats.org/officeDocument/2006/relationships/image" Target="../media/image12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38.png"/><Relationship Id="rId4" Type="http://schemas.openxmlformats.org/officeDocument/2006/relationships/image" Target="../media/image137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emf"/><Relationship Id="rId3" Type="http://schemas.openxmlformats.org/officeDocument/2006/relationships/image" Target="../media/image141.emf"/><Relationship Id="rId7" Type="http://schemas.openxmlformats.org/officeDocument/2006/relationships/image" Target="../media/image37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4.emf"/><Relationship Id="rId5" Type="http://schemas.openxmlformats.org/officeDocument/2006/relationships/image" Target="../media/image60.emf"/><Relationship Id="rId4" Type="http://schemas.openxmlformats.org/officeDocument/2006/relationships/image" Target="../media/image142.emf"/><Relationship Id="rId9" Type="http://schemas.openxmlformats.org/officeDocument/2006/relationships/image" Target="../media/image36.emf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image" Target="../media/image141.emf"/><Relationship Id="rId7" Type="http://schemas.openxmlformats.org/officeDocument/2006/relationships/image" Target="../media/image70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7.emf"/><Relationship Id="rId5" Type="http://schemas.openxmlformats.org/officeDocument/2006/relationships/image" Target="../media/image60.emf"/><Relationship Id="rId4" Type="http://schemas.openxmlformats.org/officeDocument/2006/relationships/image" Target="../media/image142.emf"/><Relationship Id="rId9" Type="http://schemas.openxmlformats.org/officeDocument/2006/relationships/image" Target="../media/image36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6.png"/><Relationship Id="rId5" Type="http://schemas.openxmlformats.org/officeDocument/2006/relationships/image" Target="../media/image145.png"/><Relationship Id="rId4" Type="http://schemas.openxmlformats.org/officeDocument/2006/relationships/image" Target="../media/image14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emf"/><Relationship Id="rId3" Type="http://schemas.openxmlformats.org/officeDocument/2006/relationships/image" Target="../media/image35.emf"/><Relationship Id="rId7" Type="http://schemas.openxmlformats.org/officeDocument/2006/relationships/image" Target="../media/image94.tiff"/><Relationship Id="rId2" Type="http://schemas.openxmlformats.org/officeDocument/2006/relationships/image" Target="../media/image151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7.emf"/><Relationship Id="rId5" Type="http://schemas.openxmlformats.org/officeDocument/2006/relationships/image" Target="../media/image54.emf"/><Relationship Id="rId4" Type="http://schemas.openxmlformats.org/officeDocument/2006/relationships/image" Target="../media/image152.emf"/><Relationship Id="rId9" Type="http://schemas.openxmlformats.org/officeDocument/2006/relationships/image" Target="../media/image89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tiff"/><Relationship Id="rId3" Type="http://schemas.openxmlformats.org/officeDocument/2006/relationships/image" Target="../media/image89.emf"/><Relationship Id="rId7" Type="http://schemas.openxmlformats.org/officeDocument/2006/relationships/image" Target="../media/image159.svg"/><Relationship Id="rId2" Type="http://schemas.openxmlformats.org/officeDocument/2006/relationships/image" Target="../media/image141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4.png"/><Relationship Id="rId5" Type="http://schemas.openxmlformats.org/officeDocument/2006/relationships/image" Target="../media/image157.svg"/><Relationship Id="rId10" Type="http://schemas.openxmlformats.org/officeDocument/2006/relationships/image" Target="../media/image54.emf"/><Relationship Id="rId4" Type="http://schemas.openxmlformats.org/officeDocument/2006/relationships/image" Target="../media/image153.png"/><Relationship Id="rId9" Type="http://schemas.openxmlformats.org/officeDocument/2006/relationships/image" Target="../media/image67.emf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141.emf"/><Relationship Id="rId18" Type="http://schemas.openxmlformats.org/officeDocument/2006/relationships/image" Target="../media/image94.tiff"/><Relationship Id="rId7" Type="http://schemas.openxmlformats.org/officeDocument/2006/relationships/image" Target="../media/image157.png"/><Relationship Id="rId12" Type="http://schemas.openxmlformats.org/officeDocument/2006/relationships/image" Target="../media/image15.svg"/><Relationship Id="rId17" Type="http://schemas.openxmlformats.org/officeDocument/2006/relationships/image" Target="../media/image54.emf"/><Relationship Id="rId2" Type="http://schemas.openxmlformats.org/officeDocument/2006/relationships/image" Target="../media/image155.png"/><Relationship Id="rId16" Type="http://schemas.openxmlformats.org/officeDocument/2006/relationships/image" Target="../media/image67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.svg"/><Relationship Id="rId5" Type="http://schemas.openxmlformats.org/officeDocument/2006/relationships/image" Target="../media/image156.png"/><Relationship Id="rId15" Type="http://schemas.openxmlformats.org/officeDocument/2006/relationships/image" Target="../media/image151.emf"/><Relationship Id="rId4" Type="http://schemas.openxmlformats.org/officeDocument/2006/relationships/image" Target="../media/image8.svg"/><Relationship Id="rId9" Type="http://schemas.openxmlformats.org/officeDocument/2006/relationships/image" Target="../media/image158.png"/><Relationship Id="rId14" Type="http://schemas.openxmlformats.org/officeDocument/2006/relationships/image" Target="../media/image89.emf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13" Type="http://schemas.openxmlformats.org/officeDocument/2006/relationships/image" Target="../media/image39.emf"/><Relationship Id="rId3" Type="http://schemas.openxmlformats.org/officeDocument/2006/relationships/image" Target="../media/image29.emf"/><Relationship Id="rId7" Type="http://schemas.openxmlformats.org/officeDocument/2006/relationships/image" Target="../media/image33.emf"/><Relationship Id="rId12" Type="http://schemas.openxmlformats.org/officeDocument/2006/relationships/image" Target="../media/image38.em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2.emf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emf"/><Relationship Id="rId11" Type="http://schemas.openxmlformats.org/officeDocument/2006/relationships/image" Target="../media/image37.emf"/><Relationship Id="rId5" Type="http://schemas.openxmlformats.org/officeDocument/2006/relationships/image" Target="../media/image31.emf"/><Relationship Id="rId15" Type="http://schemas.openxmlformats.org/officeDocument/2006/relationships/image" Target="../media/image41.emf"/><Relationship Id="rId10" Type="http://schemas.openxmlformats.org/officeDocument/2006/relationships/image" Target="../media/image36.emf"/><Relationship Id="rId4" Type="http://schemas.openxmlformats.org/officeDocument/2006/relationships/image" Target="../media/image30.emf"/><Relationship Id="rId9" Type="http://schemas.openxmlformats.org/officeDocument/2006/relationships/image" Target="../media/image35.emf"/><Relationship Id="rId14" Type="http://schemas.openxmlformats.org/officeDocument/2006/relationships/image" Target="../media/image40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2.emf"/><Relationship Id="rId18" Type="http://schemas.openxmlformats.org/officeDocument/2006/relationships/image" Target="../media/image57.emf"/><Relationship Id="rId26" Type="http://schemas.openxmlformats.org/officeDocument/2006/relationships/image" Target="../media/image63.emf"/><Relationship Id="rId3" Type="http://schemas.openxmlformats.org/officeDocument/2006/relationships/image" Target="../media/image43.png"/><Relationship Id="rId21" Type="http://schemas.openxmlformats.org/officeDocument/2006/relationships/image" Target="../media/image60.emf"/><Relationship Id="rId7" Type="http://schemas.openxmlformats.org/officeDocument/2006/relationships/image" Target="../media/image47.png"/><Relationship Id="rId12" Type="http://schemas.openxmlformats.org/officeDocument/2006/relationships/image" Target="../media/image41.emf"/><Relationship Id="rId17" Type="http://schemas.openxmlformats.org/officeDocument/2006/relationships/image" Target="../media/image56.png"/><Relationship Id="rId25" Type="http://schemas.openxmlformats.org/officeDocument/2006/relationships/image" Target="../media/image62.emf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5.emf"/><Relationship Id="rId20" Type="http://schemas.openxmlformats.org/officeDocument/2006/relationships/image" Target="../media/image59.emf"/><Relationship Id="rId29" Type="http://schemas.openxmlformats.org/officeDocument/2006/relationships/image" Target="../media/image66.emf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6.png"/><Relationship Id="rId11" Type="http://schemas.openxmlformats.org/officeDocument/2006/relationships/image" Target="../media/image51.emf"/><Relationship Id="rId24" Type="http://schemas.openxmlformats.org/officeDocument/2006/relationships/image" Target="../media/image30.emf"/><Relationship Id="rId5" Type="http://schemas.openxmlformats.org/officeDocument/2006/relationships/image" Target="../media/image45.png"/><Relationship Id="rId15" Type="http://schemas.openxmlformats.org/officeDocument/2006/relationships/image" Target="../media/image54.emf"/><Relationship Id="rId23" Type="http://schemas.openxmlformats.org/officeDocument/2006/relationships/image" Target="../media/image37.emf"/><Relationship Id="rId28" Type="http://schemas.openxmlformats.org/officeDocument/2006/relationships/image" Target="../media/image65.emf"/><Relationship Id="rId10" Type="http://schemas.openxmlformats.org/officeDocument/2006/relationships/image" Target="../media/image50.emf"/><Relationship Id="rId19" Type="http://schemas.openxmlformats.org/officeDocument/2006/relationships/image" Target="../media/image58.emf"/><Relationship Id="rId4" Type="http://schemas.openxmlformats.org/officeDocument/2006/relationships/image" Target="../media/image44.png"/><Relationship Id="rId9" Type="http://schemas.openxmlformats.org/officeDocument/2006/relationships/image" Target="../media/image49.png"/><Relationship Id="rId14" Type="http://schemas.openxmlformats.org/officeDocument/2006/relationships/image" Target="../media/image53.emf"/><Relationship Id="rId22" Type="http://schemas.openxmlformats.org/officeDocument/2006/relationships/image" Target="../media/image61.emf"/><Relationship Id="rId27" Type="http://schemas.openxmlformats.org/officeDocument/2006/relationships/image" Target="../media/image64.emf"/><Relationship Id="rId30" Type="http://schemas.openxmlformats.org/officeDocument/2006/relationships/image" Target="../media/image67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B46AFEF-A56C-4CD3-A532-8D7D541F64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B46AFEF-A56C-4CD3-A532-8D7D541F6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>
            <a:extLst>
              <a:ext uri="{FF2B5EF4-FFF2-40B4-BE49-F238E27FC236}">
                <a16:creationId xmlns="" xmlns:a16="http://schemas.microsoft.com/office/drawing/2014/main" id="{1B995E40-F144-4789-A3DB-6DEDB2953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altLang="zh-CN" dirty="0"/>
              <a:t>Hillstone iSource </a:t>
            </a:r>
            <a:r>
              <a:rPr lang="x-none" altLang="zh-CN" dirty="0" smtClean="0"/>
              <a:t>Product</a:t>
            </a:r>
            <a:r>
              <a:rPr lang="en-US" altLang="zh-CN" dirty="0" smtClean="0"/>
              <a:t> </a:t>
            </a:r>
            <a:r>
              <a:rPr lang="x-none" altLang="zh-CN" dirty="0"/>
              <a:t>Introduction</a:t>
            </a:r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="" xmlns:a16="http://schemas.microsoft.com/office/drawing/2014/main" id="{AC543BB6-2A3A-4B37-A7B5-5818D97D463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32426A90-772B-479D-BAE6-543AAD8630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AC5B405-72AE-48AB-8D70-9DBB74CCF94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21425"/>
            <a:ext cx="187325" cy="177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8FCA07-3125-49EB-99F1-64DCEC752C0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0284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>
                <a:latin typeface=""/>
                <a:cs typeface="+mn-ea"/>
                <a:sym typeface=""/>
              </a:rPr>
              <a:t>iSource</a:t>
            </a:r>
            <a:r>
              <a:rPr lang="en-US" altLang="zh-CN">
                <a:latin typeface=""/>
                <a:cs typeface="+mn-ea"/>
                <a:sym typeface=""/>
              </a:rPr>
              <a:t>: </a:t>
            </a:r>
            <a:r>
              <a:rPr lang="en-US" altLang="zh-CN" smtClean="0">
                <a:latin typeface=""/>
                <a:cs typeface="+mn-ea"/>
                <a:sym typeface=""/>
              </a:rPr>
              <a:t>XDR Solution </a:t>
            </a:r>
            <a:r>
              <a:rPr lang="en-US" altLang="zh-CN" dirty="0">
                <a:latin typeface=""/>
                <a:cs typeface="+mn-ea"/>
                <a:sym typeface=""/>
              </a:rPr>
              <a:t>Architecture</a:t>
            </a:r>
            <a:endParaRPr lang="en-US" b="0" dirty="0"/>
          </a:p>
        </p:txBody>
      </p:sp>
      <p:sp>
        <p:nvSpPr>
          <p:cNvPr id="172" name="文本框 162">
            <a:extLst>
              <a:ext uri="{FF2B5EF4-FFF2-40B4-BE49-F238E27FC236}">
                <a16:creationId xmlns="" xmlns:a16="http://schemas.microsoft.com/office/drawing/2014/main" id="{344620B4-10D8-4A0B-9E56-B630765AAB79}"/>
              </a:ext>
            </a:extLst>
          </p:cNvPr>
          <p:cNvSpPr txBox="1"/>
          <p:nvPr/>
        </p:nvSpPr>
        <p:spPr>
          <a:xfrm>
            <a:off x="1337906" y="7227314"/>
            <a:ext cx="3521676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30" name="组合 1">
            <a:extLst>
              <a:ext uri="{FF2B5EF4-FFF2-40B4-BE49-F238E27FC236}">
                <a16:creationId xmlns="" xmlns:a16="http://schemas.microsoft.com/office/drawing/2014/main" id="{F28794B1-F9F3-46BF-A7CB-E08D461F3AAE}"/>
              </a:ext>
            </a:extLst>
          </p:cNvPr>
          <p:cNvGrpSpPr/>
          <p:nvPr/>
        </p:nvGrpSpPr>
        <p:grpSpPr>
          <a:xfrm>
            <a:off x="596261" y="1230182"/>
            <a:ext cx="11005639" cy="5027613"/>
            <a:chOff x="1214468" y="1101187"/>
            <a:chExt cx="9696952" cy="5100604"/>
          </a:xfrm>
        </p:grpSpPr>
        <p:sp>
          <p:nvSpPr>
            <p:cNvPr id="31" name="ïṩḷîḑê">
              <a:extLst>
                <a:ext uri="{FF2B5EF4-FFF2-40B4-BE49-F238E27FC236}">
                  <a16:creationId xmlns="" xmlns:a16="http://schemas.microsoft.com/office/drawing/2014/main" id="{65AF3CE9-B72D-48B0-A4DC-51F9B49A2873}"/>
                </a:ext>
              </a:extLst>
            </p:cNvPr>
            <p:cNvSpPr/>
            <p:nvPr/>
          </p:nvSpPr>
          <p:spPr bwMode="auto">
            <a:xfrm>
              <a:off x="1214468" y="4664037"/>
              <a:ext cx="1327419" cy="1166137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endParaRPr lang="id-ID" sz="18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2" name="ïṩḷîḑê">
              <a:extLst>
                <a:ext uri="{FF2B5EF4-FFF2-40B4-BE49-F238E27FC236}">
                  <a16:creationId xmlns="" xmlns:a16="http://schemas.microsoft.com/office/drawing/2014/main" id="{D80AA925-E12E-4224-AB26-D3A80550BEAD}"/>
                </a:ext>
              </a:extLst>
            </p:cNvPr>
            <p:cNvSpPr/>
            <p:nvPr/>
          </p:nvSpPr>
          <p:spPr bwMode="auto">
            <a:xfrm>
              <a:off x="2633611" y="4664037"/>
              <a:ext cx="4899804" cy="1166138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endParaRPr lang="id-ID" sz="18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3" name="ïSḷîḑê">
              <a:extLst>
                <a:ext uri="{FF2B5EF4-FFF2-40B4-BE49-F238E27FC236}">
                  <a16:creationId xmlns="" xmlns:a16="http://schemas.microsoft.com/office/drawing/2014/main" id="{66A5F5E5-8A75-4BA6-921D-1A949BB3D45F}"/>
                </a:ext>
              </a:extLst>
            </p:cNvPr>
            <p:cNvSpPr/>
            <p:nvPr/>
          </p:nvSpPr>
          <p:spPr bwMode="auto">
            <a:xfrm>
              <a:off x="1214468" y="2161243"/>
              <a:ext cx="9157233" cy="1812053"/>
            </a:xfrm>
            <a:prstGeom prst="roundRect">
              <a:avLst>
                <a:gd name="adj" fmla="val 216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endParaRPr lang="id-ID" sz="18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4" name="ïṩḷîḑê">
              <a:extLst>
                <a:ext uri="{FF2B5EF4-FFF2-40B4-BE49-F238E27FC236}">
                  <a16:creationId xmlns="" xmlns:a16="http://schemas.microsoft.com/office/drawing/2014/main" id="{307D9DD8-3525-4C0A-9167-E8C50D0E1849}"/>
                </a:ext>
              </a:extLst>
            </p:cNvPr>
            <p:cNvSpPr/>
            <p:nvPr/>
          </p:nvSpPr>
          <p:spPr bwMode="auto">
            <a:xfrm>
              <a:off x="8705589" y="1101187"/>
              <a:ext cx="1666112" cy="583203"/>
            </a:xfrm>
            <a:prstGeom prst="roundRect">
              <a:avLst/>
            </a:prstGeom>
            <a:solidFill>
              <a:srgbClr val="002C73"/>
            </a:solidFill>
            <a:ln>
              <a:noFill/>
            </a:ln>
            <a:effectLst/>
          </p:spPr>
          <p:txBody>
            <a:bodyPr wrap="square" lIns="0" tIns="0" rIns="0" bIns="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1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Threat Intelligence</a:t>
              </a:r>
              <a:endParaRPr lang="id-ID" sz="11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5" name="íṥḻïḍe">
              <a:extLst>
                <a:ext uri="{FF2B5EF4-FFF2-40B4-BE49-F238E27FC236}">
                  <a16:creationId xmlns="" xmlns:a16="http://schemas.microsoft.com/office/drawing/2014/main" id="{E6D175F8-E710-43D9-A384-965FDB37D29D}"/>
                </a:ext>
              </a:extLst>
            </p:cNvPr>
            <p:cNvSpPr/>
            <p:nvPr/>
          </p:nvSpPr>
          <p:spPr bwMode="auto">
            <a:xfrm>
              <a:off x="1214468" y="1101188"/>
              <a:ext cx="1524219" cy="583202"/>
            </a:xfrm>
            <a:prstGeom prst="roundRect">
              <a:avLst>
                <a:gd name="adj" fmla="val 10039"/>
              </a:avLst>
            </a:prstGeom>
            <a:solidFill>
              <a:srgbClr val="00307D"/>
            </a:solidFill>
            <a:ln>
              <a:noFill/>
            </a:ln>
            <a:effectLst/>
          </p:spPr>
          <p:txBody>
            <a:bodyPr wrap="square" lIns="0" tIns="0" rIns="0" bIns="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1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ecurity Posture</a:t>
              </a:r>
              <a:endParaRPr lang="id-ID" sz="11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6" name="ïšḻîdè">
              <a:extLst>
                <a:ext uri="{FF2B5EF4-FFF2-40B4-BE49-F238E27FC236}">
                  <a16:creationId xmlns="" xmlns:a16="http://schemas.microsoft.com/office/drawing/2014/main" id="{6B17A4F7-16E6-4111-A628-7B210CEF6180}"/>
                </a:ext>
              </a:extLst>
            </p:cNvPr>
            <p:cNvSpPr/>
            <p:nvPr/>
          </p:nvSpPr>
          <p:spPr bwMode="auto">
            <a:xfrm>
              <a:off x="3152732" y="1101187"/>
              <a:ext cx="5364094" cy="583203"/>
            </a:xfrm>
            <a:prstGeom prst="round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endParaRPr lang="id-ID" sz="18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7" name="íšḷïḋè">
              <a:extLst>
                <a:ext uri="{FF2B5EF4-FFF2-40B4-BE49-F238E27FC236}">
                  <a16:creationId xmlns="" xmlns:a16="http://schemas.microsoft.com/office/drawing/2014/main" id="{79C2122C-7CE5-499D-AA3C-0D6A8C257A9C}"/>
                </a:ext>
              </a:extLst>
            </p:cNvPr>
            <p:cNvSpPr/>
            <p:nvPr/>
          </p:nvSpPr>
          <p:spPr bwMode="auto">
            <a:xfrm>
              <a:off x="1328389" y="3486003"/>
              <a:ext cx="8939603" cy="388334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12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Data Standardization ETL</a:t>
              </a:r>
            </a:p>
          </p:txBody>
        </p:sp>
        <p:sp>
          <p:nvSpPr>
            <p:cNvPr id="38" name="íṥḻïḍe">
              <a:extLst>
                <a:ext uri="{FF2B5EF4-FFF2-40B4-BE49-F238E27FC236}">
                  <a16:creationId xmlns="" xmlns:a16="http://schemas.microsoft.com/office/drawing/2014/main" id="{D025A654-3CAF-49F0-B3D7-D50FEBE30CA6}"/>
                </a:ext>
              </a:extLst>
            </p:cNvPr>
            <p:cNvSpPr/>
            <p:nvPr/>
          </p:nvSpPr>
          <p:spPr bwMode="auto">
            <a:xfrm>
              <a:off x="1366270" y="5247105"/>
              <a:ext cx="1023815" cy="482409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2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BDS</a:t>
              </a:r>
              <a:endParaRPr lang="id-ID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9" name="文本框 102">
              <a:extLst>
                <a:ext uri="{FF2B5EF4-FFF2-40B4-BE49-F238E27FC236}">
                  <a16:creationId xmlns="" xmlns:a16="http://schemas.microsoft.com/office/drawing/2014/main" id="{DD13BB8B-4DC3-4D12-93D7-C32619E5C907}"/>
                </a:ext>
              </a:extLst>
            </p:cNvPr>
            <p:cNvSpPr txBox="1"/>
            <p:nvPr/>
          </p:nvSpPr>
          <p:spPr>
            <a:xfrm>
              <a:off x="1260613" y="4180183"/>
              <a:ext cx="572017" cy="34346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Meta Data</a:t>
              </a:r>
            </a:p>
            <a:p>
              <a:pPr algn="r"/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NetFlow</a:t>
              </a:r>
            </a:p>
          </p:txBody>
        </p:sp>
        <p:sp>
          <p:nvSpPr>
            <p:cNvPr id="40" name="íṥḻïḍe">
              <a:extLst>
                <a:ext uri="{FF2B5EF4-FFF2-40B4-BE49-F238E27FC236}">
                  <a16:creationId xmlns="" xmlns:a16="http://schemas.microsoft.com/office/drawing/2014/main" id="{2A578307-4793-4523-8E1A-C54DEEA25865}"/>
                </a:ext>
              </a:extLst>
            </p:cNvPr>
            <p:cNvSpPr/>
            <p:nvPr/>
          </p:nvSpPr>
          <p:spPr bwMode="auto">
            <a:xfrm>
              <a:off x="2738687" y="5264679"/>
              <a:ext cx="800697" cy="482409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NGFW</a:t>
              </a:r>
              <a:endParaRPr lang="id-ID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1" name="íṥḻïḍe">
              <a:extLst>
                <a:ext uri="{FF2B5EF4-FFF2-40B4-BE49-F238E27FC236}">
                  <a16:creationId xmlns="" xmlns:a16="http://schemas.microsoft.com/office/drawing/2014/main" id="{C0F983E8-052F-4B2E-880F-141B38803EEC}"/>
                </a:ext>
              </a:extLst>
            </p:cNvPr>
            <p:cNvSpPr/>
            <p:nvPr/>
          </p:nvSpPr>
          <p:spPr bwMode="auto">
            <a:xfrm>
              <a:off x="3719053" y="5264679"/>
              <a:ext cx="800697" cy="48240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2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IDPS</a:t>
              </a:r>
              <a:endParaRPr lang="id-ID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2" name="íṥḻïḍe">
              <a:extLst>
                <a:ext uri="{FF2B5EF4-FFF2-40B4-BE49-F238E27FC236}">
                  <a16:creationId xmlns="" xmlns:a16="http://schemas.microsoft.com/office/drawing/2014/main" id="{81955769-8874-438B-97A6-3C893A3FFF64}"/>
                </a:ext>
              </a:extLst>
            </p:cNvPr>
            <p:cNvSpPr/>
            <p:nvPr/>
          </p:nvSpPr>
          <p:spPr bwMode="auto">
            <a:xfrm>
              <a:off x="4699419" y="5264679"/>
              <a:ext cx="800697" cy="482409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WAF</a:t>
              </a:r>
              <a:endParaRPr lang="id-ID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3" name="íṥḻïḍe">
              <a:extLst>
                <a:ext uri="{FF2B5EF4-FFF2-40B4-BE49-F238E27FC236}">
                  <a16:creationId xmlns="" xmlns:a16="http://schemas.microsoft.com/office/drawing/2014/main" id="{2F6A2E80-63A1-48BB-BC79-C3424FAB5DA1}"/>
                </a:ext>
              </a:extLst>
            </p:cNvPr>
            <p:cNvSpPr/>
            <p:nvPr/>
          </p:nvSpPr>
          <p:spPr bwMode="auto">
            <a:xfrm>
              <a:off x="5679785" y="5264679"/>
              <a:ext cx="825981" cy="48240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8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CloudEdge/ </a:t>
              </a:r>
              <a:r>
                <a:rPr lang="en-US" altLang="zh-CN" sz="800" b="1" dirty="0" err="1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CloudHive</a:t>
              </a:r>
              <a:endParaRPr lang="id-ID" sz="8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4" name="íṥḻïḍe">
              <a:extLst>
                <a:ext uri="{FF2B5EF4-FFF2-40B4-BE49-F238E27FC236}">
                  <a16:creationId xmlns="" xmlns:a16="http://schemas.microsoft.com/office/drawing/2014/main" id="{BA7C4F13-B4AA-4991-BBE8-66A3177060C5}"/>
                </a:ext>
              </a:extLst>
            </p:cNvPr>
            <p:cNvSpPr/>
            <p:nvPr/>
          </p:nvSpPr>
          <p:spPr bwMode="auto">
            <a:xfrm>
              <a:off x="6756485" y="5264677"/>
              <a:ext cx="704363" cy="482409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……</a:t>
              </a:r>
              <a:endParaRPr lang="id-ID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5" name="文本框 108">
              <a:extLst>
                <a:ext uri="{FF2B5EF4-FFF2-40B4-BE49-F238E27FC236}">
                  <a16:creationId xmlns="" xmlns:a16="http://schemas.microsoft.com/office/drawing/2014/main" id="{01B22E15-CE19-4F64-AF4C-9E4CB419BD75}"/>
                </a:ext>
              </a:extLst>
            </p:cNvPr>
            <p:cNvSpPr txBox="1"/>
            <p:nvPr/>
          </p:nvSpPr>
          <p:spPr>
            <a:xfrm>
              <a:off x="3817591" y="4795610"/>
              <a:ext cx="2538345" cy="281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ecurity Devices </a:t>
              </a:r>
              <a:r>
                <a:rPr lang="en-US" altLang="zh-CN" sz="11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(Enforcement Points)</a:t>
              </a:r>
              <a:endPara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6" name="ïṩḷîḑê">
              <a:extLst>
                <a:ext uri="{FF2B5EF4-FFF2-40B4-BE49-F238E27FC236}">
                  <a16:creationId xmlns="" xmlns:a16="http://schemas.microsoft.com/office/drawing/2014/main" id="{51A0A56E-F7A7-44EC-89EE-48335B40E7DE}"/>
                </a:ext>
              </a:extLst>
            </p:cNvPr>
            <p:cNvSpPr/>
            <p:nvPr/>
          </p:nvSpPr>
          <p:spPr bwMode="auto">
            <a:xfrm>
              <a:off x="7625139" y="4664037"/>
              <a:ext cx="1327419" cy="1166137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endParaRPr lang="id-ID" sz="18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7" name="ïṩḷîḑê">
              <a:extLst>
                <a:ext uri="{FF2B5EF4-FFF2-40B4-BE49-F238E27FC236}">
                  <a16:creationId xmlns="" xmlns:a16="http://schemas.microsoft.com/office/drawing/2014/main" id="{9D180A7A-7B4F-4BD1-BD66-B630F9B6E281}"/>
                </a:ext>
              </a:extLst>
            </p:cNvPr>
            <p:cNvSpPr/>
            <p:nvPr/>
          </p:nvSpPr>
          <p:spPr bwMode="auto">
            <a:xfrm>
              <a:off x="9044282" y="4652655"/>
              <a:ext cx="1327419" cy="1166137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endParaRPr lang="id-ID" sz="18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8" name="íṥḻïḍe">
              <a:extLst>
                <a:ext uri="{FF2B5EF4-FFF2-40B4-BE49-F238E27FC236}">
                  <a16:creationId xmlns="" xmlns:a16="http://schemas.microsoft.com/office/drawing/2014/main" id="{7E893DDB-069F-4C7A-96D0-E9C0C69A876C}"/>
                </a:ext>
              </a:extLst>
            </p:cNvPr>
            <p:cNvSpPr/>
            <p:nvPr/>
          </p:nvSpPr>
          <p:spPr bwMode="auto">
            <a:xfrm>
              <a:off x="7878500" y="5264677"/>
              <a:ext cx="800697" cy="48240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2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gent</a:t>
              </a:r>
              <a:endParaRPr lang="id-ID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9" name="íṥḻïḍe">
              <a:extLst>
                <a:ext uri="{FF2B5EF4-FFF2-40B4-BE49-F238E27FC236}">
                  <a16:creationId xmlns="" xmlns:a16="http://schemas.microsoft.com/office/drawing/2014/main" id="{85CF93EE-9EF5-4982-9345-6DC6A39D6C03}"/>
                </a:ext>
              </a:extLst>
            </p:cNvPr>
            <p:cNvSpPr/>
            <p:nvPr/>
          </p:nvSpPr>
          <p:spPr bwMode="auto">
            <a:xfrm>
              <a:off x="9320285" y="5283118"/>
              <a:ext cx="800697" cy="482409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05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ecurity </a:t>
              </a:r>
            </a:p>
            <a:p>
              <a:pPr algn="ctr"/>
              <a:r>
                <a:rPr lang="en-US" altLang="zh-CN" sz="105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Logs</a:t>
              </a:r>
              <a:endParaRPr lang="id-ID" sz="105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50" name="文本框 113">
              <a:extLst>
                <a:ext uri="{FF2B5EF4-FFF2-40B4-BE49-F238E27FC236}">
                  <a16:creationId xmlns="" xmlns:a16="http://schemas.microsoft.com/office/drawing/2014/main" id="{52F829DA-B452-4779-9A4E-60D6C7A9099A}"/>
                </a:ext>
              </a:extLst>
            </p:cNvPr>
            <p:cNvSpPr txBox="1"/>
            <p:nvPr/>
          </p:nvSpPr>
          <p:spPr>
            <a:xfrm>
              <a:off x="7866949" y="4758708"/>
              <a:ext cx="827943" cy="281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Endpoints</a:t>
              </a:r>
              <a:endPara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51" name="文本框 114">
              <a:extLst>
                <a:ext uri="{FF2B5EF4-FFF2-40B4-BE49-F238E27FC236}">
                  <a16:creationId xmlns="" xmlns:a16="http://schemas.microsoft.com/office/drawing/2014/main" id="{1997580A-E32E-4C75-840A-2CC936E8442A}"/>
                </a:ext>
              </a:extLst>
            </p:cNvPr>
            <p:cNvSpPr txBox="1"/>
            <p:nvPr/>
          </p:nvSpPr>
          <p:spPr>
            <a:xfrm>
              <a:off x="9110380" y="4707243"/>
              <a:ext cx="1289917" cy="281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Log Collection</a:t>
              </a:r>
              <a:endPara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52" name="íšḷïḋè">
              <a:extLst>
                <a:ext uri="{FF2B5EF4-FFF2-40B4-BE49-F238E27FC236}">
                  <a16:creationId xmlns="" xmlns:a16="http://schemas.microsoft.com/office/drawing/2014/main" id="{C63C3524-FDD0-4A36-AD89-A5C04AB09166}"/>
                </a:ext>
              </a:extLst>
            </p:cNvPr>
            <p:cNvSpPr/>
            <p:nvPr/>
          </p:nvSpPr>
          <p:spPr bwMode="auto">
            <a:xfrm>
              <a:off x="1330039" y="3064022"/>
              <a:ext cx="2929982" cy="38833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8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Distributed Real-time </a:t>
              </a:r>
            </a:p>
            <a:p>
              <a:pPr algn="ctr" hangingPunct="1">
                <a:lnSpc>
                  <a:spcPct val="100000"/>
                </a:lnSpc>
              </a:pPr>
              <a:r>
                <a:rPr lang="en-US" altLang="zh-CN" sz="8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Computing Framework</a:t>
              </a:r>
            </a:p>
          </p:txBody>
        </p:sp>
        <p:sp>
          <p:nvSpPr>
            <p:cNvPr id="53" name="íšḷïḋè">
              <a:extLst>
                <a:ext uri="{FF2B5EF4-FFF2-40B4-BE49-F238E27FC236}">
                  <a16:creationId xmlns="" xmlns:a16="http://schemas.microsoft.com/office/drawing/2014/main" id="{8193C0ED-16B5-44D9-9F3D-12C55C9F70A8}"/>
                </a:ext>
              </a:extLst>
            </p:cNvPr>
            <p:cNvSpPr/>
            <p:nvPr/>
          </p:nvSpPr>
          <p:spPr bwMode="auto">
            <a:xfrm>
              <a:off x="1330039" y="2642041"/>
              <a:ext cx="1211848" cy="38833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105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C&amp;C Detection</a:t>
              </a:r>
            </a:p>
          </p:txBody>
        </p:sp>
        <p:sp>
          <p:nvSpPr>
            <p:cNvPr id="54" name="íšḷïḋè">
              <a:extLst>
                <a:ext uri="{FF2B5EF4-FFF2-40B4-BE49-F238E27FC236}">
                  <a16:creationId xmlns="" xmlns:a16="http://schemas.microsoft.com/office/drawing/2014/main" id="{78E119B8-B565-48B3-91C6-A7A98C8AFC8D}"/>
                </a:ext>
              </a:extLst>
            </p:cNvPr>
            <p:cNvSpPr/>
            <p:nvPr/>
          </p:nvSpPr>
          <p:spPr bwMode="auto">
            <a:xfrm>
              <a:off x="2618341" y="2637999"/>
              <a:ext cx="1211848" cy="38833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105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bnormal Traffic</a:t>
              </a:r>
            </a:p>
          </p:txBody>
        </p:sp>
        <p:sp>
          <p:nvSpPr>
            <p:cNvPr id="56" name="íšḷïḋè">
              <a:extLst>
                <a:ext uri="{FF2B5EF4-FFF2-40B4-BE49-F238E27FC236}">
                  <a16:creationId xmlns="" xmlns:a16="http://schemas.microsoft.com/office/drawing/2014/main" id="{7F05F092-3FF1-443A-B5C4-8FB9B517A82A}"/>
                </a:ext>
              </a:extLst>
            </p:cNvPr>
            <p:cNvSpPr/>
            <p:nvPr/>
          </p:nvSpPr>
          <p:spPr bwMode="auto">
            <a:xfrm>
              <a:off x="3906644" y="2637999"/>
              <a:ext cx="1211848" cy="38833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105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Hidden Tunnels</a:t>
              </a:r>
            </a:p>
          </p:txBody>
        </p:sp>
        <p:sp>
          <p:nvSpPr>
            <p:cNvPr id="57" name="íšḷïḋè">
              <a:extLst>
                <a:ext uri="{FF2B5EF4-FFF2-40B4-BE49-F238E27FC236}">
                  <a16:creationId xmlns="" xmlns:a16="http://schemas.microsoft.com/office/drawing/2014/main" id="{1F90DEAD-19C2-497C-87A4-F19BA79D5567}"/>
                </a:ext>
              </a:extLst>
            </p:cNvPr>
            <p:cNvSpPr/>
            <p:nvPr/>
          </p:nvSpPr>
          <p:spPr bwMode="auto">
            <a:xfrm>
              <a:off x="5194946" y="2637999"/>
              <a:ext cx="1211848" cy="38833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12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ttack Chain</a:t>
              </a:r>
            </a:p>
          </p:txBody>
        </p:sp>
        <p:sp>
          <p:nvSpPr>
            <p:cNvPr id="58" name="íšḷïḋè">
              <a:extLst>
                <a:ext uri="{FF2B5EF4-FFF2-40B4-BE49-F238E27FC236}">
                  <a16:creationId xmlns="" xmlns:a16="http://schemas.microsoft.com/office/drawing/2014/main" id="{416B2D21-0616-4060-9FAE-0A42D8F37AC2}"/>
                </a:ext>
              </a:extLst>
            </p:cNvPr>
            <p:cNvSpPr/>
            <p:nvPr/>
          </p:nvSpPr>
          <p:spPr bwMode="auto">
            <a:xfrm>
              <a:off x="6483249" y="2637999"/>
              <a:ext cx="1211848" cy="38833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8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Ransomware/</a:t>
              </a:r>
            </a:p>
            <a:p>
              <a:pPr algn="ctr" hangingPunct="1">
                <a:lnSpc>
                  <a:spcPct val="100000"/>
                </a:lnSpc>
              </a:pPr>
              <a:r>
                <a:rPr lang="en-US" altLang="zh-CN" sz="8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Mining</a:t>
              </a:r>
            </a:p>
          </p:txBody>
        </p:sp>
        <p:sp>
          <p:nvSpPr>
            <p:cNvPr id="59" name="íšḷïḋè">
              <a:extLst>
                <a:ext uri="{FF2B5EF4-FFF2-40B4-BE49-F238E27FC236}">
                  <a16:creationId xmlns="" xmlns:a16="http://schemas.microsoft.com/office/drawing/2014/main" id="{22B08171-0DAB-44F8-932A-BCA2C5B187D6}"/>
                </a:ext>
              </a:extLst>
            </p:cNvPr>
            <p:cNvSpPr/>
            <p:nvPr/>
          </p:nvSpPr>
          <p:spPr bwMode="auto">
            <a:xfrm>
              <a:off x="7771551" y="2637999"/>
              <a:ext cx="1211848" cy="38833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12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……</a:t>
              </a:r>
            </a:p>
          </p:txBody>
        </p:sp>
        <p:sp>
          <p:nvSpPr>
            <p:cNvPr id="60" name="íšḷïḋè">
              <a:extLst>
                <a:ext uri="{FF2B5EF4-FFF2-40B4-BE49-F238E27FC236}">
                  <a16:creationId xmlns="" xmlns:a16="http://schemas.microsoft.com/office/drawing/2014/main" id="{46539CFA-4010-4656-8628-475BC9C1A144}"/>
                </a:ext>
              </a:extLst>
            </p:cNvPr>
            <p:cNvSpPr/>
            <p:nvPr/>
          </p:nvSpPr>
          <p:spPr bwMode="auto">
            <a:xfrm>
              <a:off x="9059855" y="2637999"/>
              <a:ext cx="1211848" cy="38833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9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Threat Intelligence</a:t>
              </a:r>
            </a:p>
          </p:txBody>
        </p:sp>
        <p:sp>
          <p:nvSpPr>
            <p:cNvPr id="61" name="文本框 123">
              <a:extLst>
                <a:ext uri="{FF2B5EF4-FFF2-40B4-BE49-F238E27FC236}">
                  <a16:creationId xmlns="" xmlns:a16="http://schemas.microsoft.com/office/drawing/2014/main" id="{AA740122-A070-4629-95E8-165CCB138518}"/>
                </a:ext>
              </a:extLst>
            </p:cNvPr>
            <p:cNvSpPr txBox="1"/>
            <p:nvPr/>
          </p:nvSpPr>
          <p:spPr>
            <a:xfrm>
              <a:off x="4872300" y="2206537"/>
              <a:ext cx="1889268" cy="2810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Big Data Analysis Platform</a:t>
              </a:r>
              <a:endPara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62" name="íšḷïḋè">
              <a:extLst>
                <a:ext uri="{FF2B5EF4-FFF2-40B4-BE49-F238E27FC236}">
                  <a16:creationId xmlns="" xmlns:a16="http://schemas.microsoft.com/office/drawing/2014/main" id="{DA4F2C5D-2ED5-4F68-8D2F-D53914BDCFB4}"/>
                </a:ext>
              </a:extLst>
            </p:cNvPr>
            <p:cNvSpPr/>
            <p:nvPr/>
          </p:nvSpPr>
          <p:spPr bwMode="auto">
            <a:xfrm>
              <a:off x="7341721" y="3059980"/>
              <a:ext cx="2929981" cy="38833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12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I/ ML Algorithms</a:t>
              </a:r>
            </a:p>
          </p:txBody>
        </p:sp>
        <p:sp>
          <p:nvSpPr>
            <p:cNvPr id="63" name="íṥḻïḍe">
              <a:extLst>
                <a:ext uri="{FF2B5EF4-FFF2-40B4-BE49-F238E27FC236}">
                  <a16:creationId xmlns="" xmlns:a16="http://schemas.microsoft.com/office/drawing/2014/main" id="{64B66018-8159-4EAA-9AFE-353EF542E0BE}"/>
                </a:ext>
              </a:extLst>
            </p:cNvPr>
            <p:cNvSpPr/>
            <p:nvPr/>
          </p:nvSpPr>
          <p:spPr bwMode="auto">
            <a:xfrm>
              <a:off x="3223387" y="1184362"/>
              <a:ext cx="1102847" cy="416852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0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sset Management</a:t>
              </a:r>
              <a:endParaRPr lang="id-ID" sz="1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64" name="íṥḻïḍe">
              <a:extLst>
                <a:ext uri="{FF2B5EF4-FFF2-40B4-BE49-F238E27FC236}">
                  <a16:creationId xmlns="" xmlns:a16="http://schemas.microsoft.com/office/drawing/2014/main" id="{CF43DCA6-A592-43F9-895B-2650AF53FB87}"/>
                </a:ext>
              </a:extLst>
            </p:cNvPr>
            <p:cNvSpPr/>
            <p:nvPr/>
          </p:nvSpPr>
          <p:spPr bwMode="auto">
            <a:xfrm>
              <a:off x="4404872" y="1184362"/>
              <a:ext cx="1129350" cy="416852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92500"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0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dvanced Search</a:t>
              </a:r>
              <a:endParaRPr lang="id-ID" sz="1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65" name="íṥḻïḍe">
              <a:extLst>
                <a:ext uri="{FF2B5EF4-FFF2-40B4-BE49-F238E27FC236}">
                  <a16:creationId xmlns="" xmlns:a16="http://schemas.microsoft.com/office/drawing/2014/main" id="{AD07C979-5128-47CD-BFDE-EFCCDE5CE1D1}"/>
                </a:ext>
              </a:extLst>
            </p:cNvPr>
            <p:cNvSpPr/>
            <p:nvPr/>
          </p:nvSpPr>
          <p:spPr bwMode="auto">
            <a:xfrm>
              <a:off x="5612860" y="1184362"/>
              <a:ext cx="1129350" cy="416852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lerts</a:t>
              </a:r>
              <a:endParaRPr lang="id-ID" sz="1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66" name="íṥḻïḍe">
              <a:extLst>
                <a:ext uri="{FF2B5EF4-FFF2-40B4-BE49-F238E27FC236}">
                  <a16:creationId xmlns="" xmlns:a16="http://schemas.microsoft.com/office/drawing/2014/main" id="{A1513962-0F14-4F09-9C27-D4A710DC774C}"/>
                </a:ext>
              </a:extLst>
            </p:cNvPr>
            <p:cNvSpPr/>
            <p:nvPr/>
          </p:nvSpPr>
          <p:spPr bwMode="auto">
            <a:xfrm>
              <a:off x="6820848" y="1184362"/>
              <a:ext cx="1129350" cy="416852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utomated Response</a:t>
              </a:r>
              <a:endParaRPr lang="id-ID" sz="1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67" name="íṥḻïḍe">
              <a:extLst>
                <a:ext uri="{FF2B5EF4-FFF2-40B4-BE49-F238E27FC236}">
                  <a16:creationId xmlns="" xmlns:a16="http://schemas.microsoft.com/office/drawing/2014/main" id="{392B05FD-1496-4B37-B953-9380DAC91515}"/>
                </a:ext>
              </a:extLst>
            </p:cNvPr>
            <p:cNvSpPr/>
            <p:nvPr/>
          </p:nvSpPr>
          <p:spPr bwMode="auto">
            <a:xfrm>
              <a:off x="8028836" y="1171207"/>
              <a:ext cx="419899" cy="443162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0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…</a:t>
              </a:r>
              <a:endParaRPr lang="id-ID" sz="1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68" name="文本框 133">
              <a:extLst>
                <a:ext uri="{FF2B5EF4-FFF2-40B4-BE49-F238E27FC236}">
                  <a16:creationId xmlns="" xmlns:a16="http://schemas.microsoft.com/office/drawing/2014/main" id="{5F291E01-71EE-4A90-8441-420B8ED77F9C}"/>
                </a:ext>
              </a:extLst>
            </p:cNvPr>
            <p:cNvSpPr txBox="1"/>
            <p:nvPr/>
          </p:nvSpPr>
          <p:spPr>
            <a:xfrm>
              <a:off x="7983259" y="1785592"/>
              <a:ext cx="1255896" cy="2654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Intelligence Sharing</a:t>
              </a:r>
              <a:endParaRPr lang="zh-CN" altLang="en-US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69" name="文本框 134">
              <a:extLst>
                <a:ext uri="{FF2B5EF4-FFF2-40B4-BE49-F238E27FC236}">
                  <a16:creationId xmlns="" xmlns:a16="http://schemas.microsoft.com/office/drawing/2014/main" id="{58BF5DE2-0476-4E73-B62A-21843CC65C0A}"/>
                </a:ext>
              </a:extLst>
            </p:cNvPr>
            <p:cNvSpPr txBox="1"/>
            <p:nvPr/>
          </p:nvSpPr>
          <p:spPr>
            <a:xfrm>
              <a:off x="2332591" y="1784152"/>
              <a:ext cx="1226237" cy="2654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ecurity Monitoring</a:t>
              </a:r>
              <a:endParaRPr lang="zh-CN" altLang="en-US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70" name="文本框 135">
              <a:extLst>
                <a:ext uri="{FF2B5EF4-FFF2-40B4-BE49-F238E27FC236}">
                  <a16:creationId xmlns="" xmlns:a16="http://schemas.microsoft.com/office/drawing/2014/main" id="{ED2F2AD6-48AE-43B6-87FA-9167F071D991}"/>
                </a:ext>
              </a:extLst>
            </p:cNvPr>
            <p:cNvSpPr txBox="1"/>
            <p:nvPr/>
          </p:nvSpPr>
          <p:spPr>
            <a:xfrm>
              <a:off x="5072654" y="1768595"/>
              <a:ext cx="1524250" cy="2654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Detection and Response</a:t>
              </a:r>
              <a:endParaRPr lang="zh-CN" altLang="en-US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71" name="文本框 138">
              <a:extLst>
                <a:ext uri="{FF2B5EF4-FFF2-40B4-BE49-F238E27FC236}">
                  <a16:creationId xmlns="" xmlns:a16="http://schemas.microsoft.com/office/drawing/2014/main" id="{C7CF663D-496E-4165-8B0C-9A91C15A9486}"/>
                </a:ext>
              </a:extLst>
            </p:cNvPr>
            <p:cNvSpPr txBox="1"/>
            <p:nvPr/>
          </p:nvSpPr>
          <p:spPr>
            <a:xfrm>
              <a:off x="8898858" y="4168535"/>
              <a:ext cx="716082" cy="34346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yslog</a:t>
              </a:r>
            </a:p>
            <a:p>
              <a:pPr algn="r"/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3</a:t>
              </a:r>
              <a:r>
                <a:rPr lang="en-US" altLang="zh-CN" sz="1100" baseline="300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rd</a:t>
              </a:r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 party logs</a:t>
              </a:r>
              <a:endParaRPr lang="zh-CN" altLang="en-US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72" name="文本框 139">
              <a:extLst>
                <a:ext uri="{FF2B5EF4-FFF2-40B4-BE49-F238E27FC236}">
                  <a16:creationId xmlns="" xmlns:a16="http://schemas.microsoft.com/office/drawing/2014/main" id="{EF5749CC-578C-4FFF-A986-DD05D54C201F}"/>
                </a:ext>
              </a:extLst>
            </p:cNvPr>
            <p:cNvSpPr txBox="1"/>
            <p:nvPr/>
          </p:nvSpPr>
          <p:spPr>
            <a:xfrm>
              <a:off x="2050818" y="4286637"/>
              <a:ext cx="598853" cy="17173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Threat Info</a:t>
              </a:r>
              <a:endParaRPr lang="zh-CN" altLang="en-US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73" name="文本框 141">
              <a:extLst>
                <a:ext uri="{FF2B5EF4-FFF2-40B4-BE49-F238E27FC236}">
                  <a16:creationId xmlns="" xmlns:a16="http://schemas.microsoft.com/office/drawing/2014/main" id="{B53E09A4-5050-4CC4-AA2E-F57CFA96FE05}"/>
                </a:ext>
              </a:extLst>
            </p:cNvPr>
            <p:cNvSpPr txBox="1"/>
            <p:nvPr/>
          </p:nvSpPr>
          <p:spPr>
            <a:xfrm>
              <a:off x="4608007" y="4161008"/>
              <a:ext cx="457614" cy="34346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yslog</a:t>
              </a:r>
            </a:p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NetFlow</a:t>
              </a:r>
            </a:p>
          </p:txBody>
        </p:sp>
        <p:sp>
          <p:nvSpPr>
            <p:cNvPr id="74" name="文本框 142">
              <a:extLst>
                <a:ext uri="{FF2B5EF4-FFF2-40B4-BE49-F238E27FC236}">
                  <a16:creationId xmlns="" xmlns:a16="http://schemas.microsoft.com/office/drawing/2014/main" id="{78E326DD-7831-45DE-A97F-775FF70691E4}"/>
                </a:ext>
              </a:extLst>
            </p:cNvPr>
            <p:cNvSpPr txBox="1"/>
            <p:nvPr/>
          </p:nvSpPr>
          <p:spPr>
            <a:xfrm>
              <a:off x="7799074" y="4280135"/>
              <a:ext cx="449140" cy="17173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ysmon</a:t>
              </a:r>
              <a:endParaRPr lang="zh-CN" altLang="en-US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75" name="文本框 144">
              <a:extLst>
                <a:ext uri="{FF2B5EF4-FFF2-40B4-BE49-F238E27FC236}">
                  <a16:creationId xmlns="" xmlns:a16="http://schemas.microsoft.com/office/drawing/2014/main" id="{C2700819-CDEF-466A-948A-3750AC5269C5}"/>
                </a:ext>
              </a:extLst>
            </p:cNvPr>
            <p:cNvSpPr txBox="1"/>
            <p:nvPr/>
          </p:nvSpPr>
          <p:spPr>
            <a:xfrm>
              <a:off x="5923726" y="4250343"/>
              <a:ext cx="703369" cy="17173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Enforcement</a:t>
              </a:r>
            </a:p>
          </p:txBody>
        </p:sp>
        <p:sp>
          <p:nvSpPr>
            <p:cNvPr id="76" name="箭头: 右 148">
              <a:extLst>
                <a:ext uri="{FF2B5EF4-FFF2-40B4-BE49-F238E27FC236}">
                  <a16:creationId xmlns="" xmlns:a16="http://schemas.microsoft.com/office/drawing/2014/main" id="{EE437E39-244F-4E06-B980-9433B864B904}"/>
                </a:ext>
              </a:extLst>
            </p:cNvPr>
            <p:cNvSpPr/>
            <p:nvPr/>
          </p:nvSpPr>
          <p:spPr>
            <a:xfrm>
              <a:off x="1528682" y="5905278"/>
              <a:ext cx="1018240" cy="280810"/>
            </a:xfrm>
            <a:prstGeom prst="rightArrow">
              <a:avLst>
                <a:gd name="adj1" fmla="val 27211"/>
                <a:gd name="adj2" fmla="val 71003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77" name="箭头: 右 149">
              <a:extLst>
                <a:ext uri="{FF2B5EF4-FFF2-40B4-BE49-F238E27FC236}">
                  <a16:creationId xmlns="" xmlns:a16="http://schemas.microsoft.com/office/drawing/2014/main" id="{D8F16DFB-D0B3-48C1-8047-CAF28D861832}"/>
                </a:ext>
              </a:extLst>
            </p:cNvPr>
            <p:cNvSpPr/>
            <p:nvPr/>
          </p:nvSpPr>
          <p:spPr>
            <a:xfrm>
              <a:off x="5189241" y="5915679"/>
              <a:ext cx="1018240" cy="280810"/>
            </a:xfrm>
            <a:prstGeom prst="rightArrow">
              <a:avLst>
                <a:gd name="adj1" fmla="val 27211"/>
                <a:gd name="adj2" fmla="val 71003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78" name="箭头: 右 150">
              <a:extLst>
                <a:ext uri="{FF2B5EF4-FFF2-40B4-BE49-F238E27FC236}">
                  <a16:creationId xmlns="" xmlns:a16="http://schemas.microsoft.com/office/drawing/2014/main" id="{B9E5AF18-B4CC-43E6-BB1E-3CAD8577D96C}"/>
                </a:ext>
              </a:extLst>
            </p:cNvPr>
            <p:cNvSpPr/>
            <p:nvPr/>
          </p:nvSpPr>
          <p:spPr>
            <a:xfrm>
              <a:off x="8079406" y="5920981"/>
              <a:ext cx="1018240" cy="280810"/>
            </a:xfrm>
            <a:prstGeom prst="rightArrow">
              <a:avLst>
                <a:gd name="adj1" fmla="val 27211"/>
                <a:gd name="adj2" fmla="val 71003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79" name="文本框 151">
              <a:extLst>
                <a:ext uri="{FF2B5EF4-FFF2-40B4-BE49-F238E27FC236}">
                  <a16:creationId xmlns="" xmlns:a16="http://schemas.microsoft.com/office/drawing/2014/main" id="{1383C6C7-E7FA-478D-8E26-78D07E9AE030}"/>
                </a:ext>
              </a:extLst>
            </p:cNvPr>
            <p:cNvSpPr txBox="1"/>
            <p:nvPr/>
          </p:nvSpPr>
          <p:spPr>
            <a:xfrm>
              <a:off x="2546922" y="5910250"/>
              <a:ext cx="1429620" cy="2654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Traffic/ Logs/ Metadata</a:t>
              </a:r>
              <a:endParaRPr lang="zh-CN" altLang="en-US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80" name="文本框 152">
              <a:extLst>
                <a:ext uri="{FF2B5EF4-FFF2-40B4-BE49-F238E27FC236}">
                  <a16:creationId xmlns="" xmlns:a16="http://schemas.microsoft.com/office/drawing/2014/main" id="{110657BA-1506-42B4-A552-FF079CA89E0D}"/>
                </a:ext>
              </a:extLst>
            </p:cNvPr>
            <p:cNvSpPr txBox="1"/>
            <p:nvPr/>
          </p:nvSpPr>
          <p:spPr>
            <a:xfrm>
              <a:off x="6272876" y="5905278"/>
              <a:ext cx="866077" cy="2654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Enforcement</a:t>
              </a:r>
              <a:endParaRPr lang="zh-CN" altLang="en-US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81" name="文本框 153">
              <a:extLst>
                <a:ext uri="{FF2B5EF4-FFF2-40B4-BE49-F238E27FC236}">
                  <a16:creationId xmlns="" xmlns:a16="http://schemas.microsoft.com/office/drawing/2014/main" id="{AFFA9ED8-84A1-416E-8A5A-C4C6E6581399}"/>
                </a:ext>
              </a:extLst>
            </p:cNvPr>
            <p:cNvSpPr txBox="1"/>
            <p:nvPr/>
          </p:nvSpPr>
          <p:spPr>
            <a:xfrm>
              <a:off x="9159960" y="5905278"/>
              <a:ext cx="1234711" cy="2654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Intelligence sharing</a:t>
              </a:r>
              <a:endParaRPr lang="zh-CN" altLang="en-US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82" name="ïṩḷîḑê">
              <a:extLst>
                <a:ext uri="{FF2B5EF4-FFF2-40B4-BE49-F238E27FC236}">
                  <a16:creationId xmlns="" xmlns:a16="http://schemas.microsoft.com/office/drawing/2014/main" id="{AB33469E-0A1E-4C03-A1DC-4BEABFB7B097}"/>
                </a:ext>
              </a:extLst>
            </p:cNvPr>
            <p:cNvSpPr/>
            <p:nvPr/>
          </p:nvSpPr>
          <p:spPr bwMode="auto">
            <a:xfrm>
              <a:off x="10428891" y="1101187"/>
              <a:ext cx="482529" cy="4717605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txBody>
            <a:bodyPr vert="vert"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iSource XDR Solution</a:t>
              </a:r>
              <a:endParaRPr lang="id-ID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83" name="íšḷïḋè">
              <a:extLst>
                <a:ext uri="{FF2B5EF4-FFF2-40B4-BE49-F238E27FC236}">
                  <a16:creationId xmlns="" xmlns:a16="http://schemas.microsoft.com/office/drawing/2014/main" id="{7A567D4B-B0EE-4EF5-B3D7-95E31EE5552B}"/>
                </a:ext>
              </a:extLst>
            </p:cNvPr>
            <p:cNvSpPr/>
            <p:nvPr/>
          </p:nvSpPr>
          <p:spPr bwMode="auto">
            <a:xfrm>
              <a:off x="4335880" y="3064022"/>
              <a:ext cx="2929982" cy="38833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1pPr>
              <a:lvl2pPr marL="228600" indent="2286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2pPr>
              <a:lvl3pPr marL="457200" indent="4572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3pPr>
              <a:lvl4pPr marL="685800" indent="6858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4pPr>
              <a:lvl5pPr marL="914400" indent="914400" algn="l" defTabSz="12700" rtl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rgbClr val="53585F"/>
                  </a:solidFill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53585F"/>
                  </a:solidFill>
                </a:defRPr>
              </a:lvl9pPr>
            </a:lstStyle>
            <a:p>
              <a:pPr algn="ctr" hangingPunct="1">
                <a:lnSpc>
                  <a:spcPct val="100000"/>
                </a:lnSpc>
              </a:pPr>
              <a:r>
                <a:rPr lang="en-US" altLang="zh-CN" sz="80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earch Engine</a:t>
              </a:r>
              <a:endParaRPr lang="en-US" altLang="zh-CN" sz="800" dirty="0">
                <a:ln w="0"/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  <a:p>
              <a:pPr algn="ctr" hangingPunct="1">
                <a:lnSpc>
                  <a:spcPct val="100000"/>
                </a:lnSpc>
              </a:pPr>
              <a:r>
                <a:rPr lang="en-US" altLang="zh-CN" sz="80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For </a:t>
              </a:r>
              <a:r>
                <a:rPr lang="en-US" altLang="zh-CN" sz="800" smtClean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Massive </a:t>
              </a:r>
              <a:r>
                <a:rPr lang="en-US" altLang="zh-CN" sz="800" dirty="0">
                  <a:ln w="0"/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Logs</a:t>
              </a:r>
            </a:p>
          </p:txBody>
        </p:sp>
      </p:grpSp>
      <p:cxnSp>
        <p:nvCxnSpPr>
          <p:cNvPr id="84" name="Straight Arrow Connector 83">
            <a:extLst>
              <a:ext uri="{FF2B5EF4-FFF2-40B4-BE49-F238E27FC236}">
                <a16:creationId xmlns="" xmlns:a16="http://schemas.microsoft.com/office/drawing/2014/main" id="{AD1D5AE7-82FE-4606-A072-FACCEDC2616E}"/>
              </a:ext>
            </a:extLst>
          </p:cNvPr>
          <p:cNvCxnSpPr>
            <a:cxnSpLocks/>
          </p:cNvCxnSpPr>
          <p:nvPr/>
        </p:nvCxnSpPr>
        <p:spPr>
          <a:xfrm>
            <a:off x="7726188" y="1896416"/>
            <a:ext cx="0" cy="311532"/>
          </a:xfrm>
          <a:prstGeom prst="straightConnector1">
            <a:avLst/>
          </a:prstGeom>
          <a:ln w="2857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="" xmlns:a16="http://schemas.microsoft.com/office/drawing/2014/main" id="{7668B42C-CD46-46CD-945F-4EDF3278E62E}"/>
              </a:ext>
            </a:extLst>
          </p:cNvPr>
          <p:cNvCxnSpPr>
            <a:cxnSpLocks/>
          </p:cNvCxnSpPr>
          <p:nvPr/>
        </p:nvCxnSpPr>
        <p:spPr>
          <a:xfrm>
            <a:off x="10074678" y="1896416"/>
            <a:ext cx="0" cy="311532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="" xmlns:a16="http://schemas.microsoft.com/office/drawing/2014/main" id="{C8E1C437-9308-43D8-9671-5E0B6F756CB8}"/>
              </a:ext>
            </a:extLst>
          </p:cNvPr>
          <p:cNvCxnSpPr>
            <a:cxnSpLocks/>
          </p:cNvCxnSpPr>
          <p:nvPr/>
        </p:nvCxnSpPr>
        <p:spPr>
          <a:xfrm>
            <a:off x="4475163" y="1896416"/>
            <a:ext cx="0" cy="311532"/>
          </a:xfrm>
          <a:prstGeom prst="straightConnector1">
            <a:avLst/>
          </a:prstGeom>
          <a:ln w="28575">
            <a:solidFill>
              <a:schemeClr val="accent4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="" xmlns:a16="http://schemas.microsoft.com/office/drawing/2014/main" id="{8CBF1FA7-E7F9-4715-B68D-7AD7F951F392}"/>
              </a:ext>
            </a:extLst>
          </p:cNvPr>
          <p:cNvCxnSpPr>
            <a:cxnSpLocks/>
          </p:cNvCxnSpPr>
          <p:nvPr/>
        </p:nvCxnSpPr>
        <p:spPr>
          <a:xfrm>
            <a:off x="10236162" y="4226314"/>
            <a:ext cx="0" cy="384348"/>
          </a:xfrm>
          <a:prstGeom prst="straightConnector1">
            <a:avLst/>
          </a:prstGeom>
          <a:ln w="28575">
            <a:solidFill>
              <a:schemeClr val="accent4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A9F95ACD-60FF-4DE9-BC53-9E6ADF395F5E}"/>
              </a:ext>
            </a:extLst>
          </p:cNvPr>
          <p:cNvCxnSpPr>
            <a:cxnSpLocks/>
          </p:cNvCxnSpPr>
          <p:nvPr/>
        </p:nvCxnSpPr>
        <p:spPr>
          <a:xfrm>
            <a:off x="8674062" y="4243809"/>
            <a:ext cx="0" cy="384348"/>
          </a:xfrm>
          <a:prstGeom prst="straightConnector1">
            <a:avLst/>
          </a:prstGeom>
          <a:ln w="28575">
            <a:solidFill>
              <a:schemeClr val="accent4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="" xmlns:a16="http://schemas.microsoft.com/office/drawing/2014/main" id="{DBD188B7-DFD4-4BE2-9A03-FD951B39BE5D}"/>
              </a:ext>
            </a:extLst>
          </p:cNvPr>
          <p:cNvCxnSpPr>
            <a:cxnSpLocks/>
          </p:cNvCxnSpPr>
          <p:nvPr/>
        </p:nvCxnSpPr>
        <p:spPr>
          <a:xfrm>
            <a:off x="4302087" y="4221184"/>
            <a:ext cx="0" cy="384348"/>
          </a:xfrm>
          <a:prstGeom prst="straightConnector1">
            <a:avLst/>
          </a:prstGeom>
          <a:ln w="28575">
            <a:solidFill>
              <a:schemeClr val="accent4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="" xmlns:a16="http://schemas.microsoft.com/office/drawing/2014/main" id="{1374D08E-9CDB-4299-A4DB-716F794A7BBB}"/>
              </a:ext>
            </a:extLst>
          </p:cNvPr>
          <p:cNvCxnSpPr>
            <a:cxnSpLocks/>
          </p:cNvCxnSpPr>
          <p:nvPr/>
        </p:nvCxnSpPr>
        <p:spPr>
          <a:xfrm>
            <a:off x="5792802" y="4257592"/>
            <a:ext cx="0" cy="370565"/>
          </a:xfrm>
          <a:prstGeom prst="straightConnector1">
            <a:avLst/>
          </a:prstGeom>
          <a:ln w="2857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="" xmlns:a16="http://schemas.microsoft.com/office/drawing/2014/main" id="{961ED5AA-270A-45AA-9A25-9C29F4203E95}"/>
              </a:ext>
            </a:extLst>
          </p:cNvPr>
          <p:cNvCxnSpPr>
            <a:cxnSpLocks/>
          </p:cNvCxnSpPr>
          <p:nvPr/>
        </p:nvCxnSpPr>
        <p:spPr>
          <a:xfrm>
            <a:off x="1415128" y="4246216"/>
            <a:ext cx="0" cy="384348"/>
          </a:xfrm>
          <a:prstGeom prst="straightConnector1">
            <a:avLst/>
          </a:prstGeom>
          <a:ln w="28575">
            <a:solidFill>
              <a:schemeClr val="accent4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075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Data Collection Across The Environment</a:t>
            </a:r>
            <a:endParaRPr lang="en-US" b="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="" xmlns:a16="http://schemas.microsoft.com/office/drawing/2014/main" id="{8163F56A-91FF-4BAA-A268-EE32084564BA}"/>
              </a:ext>
            </a:extLst>
          </p:cNvPr>
          <p:cNvSpPr/>
          <p:nvPr/>
        </p:nvSpPr>
        <p:spPr>
          <a:xfrm>
            <a:off x="593003" y="4911170"/>
            <a:ext cx="2631746" cy="1252902"/>
          </a:xfrm>
          <a:prstGeom prst="roundRect">
            <a:avLst>
              <a:gd name="adj" fmla="val 355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Rectangle: Rounded Corners 173">
            <a:extLst>
              <a:ext uri="{FF2B5EF4-FFF2-40B4-BE49-F238E27FC236}">
                <a16:creationId xmlns="" xmlns:a16="http://schemas.microsoft.com/office/drawing/2014/main" id="{F77E4D89-BEF4-4111-8E4E-04601E095A82}"/>
              </a:ext>
            </a:extLst>
          </p:cNvPr>
          <p:cNvSpPr/>
          <p:nvPr/>
        </p:nvSpPr>
        <p:spPr>
          <a:xfrm>
            <a:off x="3386294" y="4911170"/>
            <a:ext cx="2631746" cy="1252902"/>
          </a:xfrm>
          <a:prstGeom prst="roundRect">
            <a:avLst>
              <a:gd name="adj" fmla="val 355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Rectangle: Rounded Corners 174">
            <a:extLst>
              <a:ext uri="{FF2B5EF4-FFF2-40B4-BE49-F238E27FC236}">
                <a16:creationId xmlns="" xmlns:a16="http://schemas.microsoft.com/office/drawing/2014/main" id="{1B03B5C0-C2D8-4368-88EB-2A224582EF0C}"/>
              </a:ext>
            </a:extLst>
          </p:cNvPr>
          <p:cNvSpPr/>
          <p:nvPr/>
        </p:nvSpPr>
        <p:spPr>
          <a:xfrm>
            <a:off x="6179586" y="4911170"/>
            <a:ext cx="2631746" cy="1252902"/>
          </a:xfrm>
          <a:prstGeom prst="roundRect">
            <a:avLst>
              <a:gd name="adj" fmla="val 355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Rectangle: Rounded Corners 175">
            <a:extLst>
              <a:ext uri="{FF2B5EF4-FFF2-40B4-BE49-F238E27FC236}">
                <a16:creationId xmlns="" xmlns:a16="http://schemas.microsoft.com/office/drawing/2014/main" id="{601EBBB9-8011-400B-9BE6-6A1151175E00}"/>
              </a:ext>
            </a:extLst>
          </p:cNvPr>
          <p:cNvSpPr/>
          <p:nvPr/>
        </p:nvSpPr>
        <p:spPr>
          <a:xfrm>
            <a:off x="8972878" y="4911170"/>
            <a:ext cx="2631746" cy="1252902"/>
          </a:xfrm>
          <a:prstGeom prst="roundRect">
            <a:avLst>
              <a:gd name="adj" fmla="val 355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7DC732D7-1256-4861-B1F8-EF89FC198C94}"/>
              </a:ext>
            </a:extLst>
          </p:cNvPr>
          <p:cNvCxnSpPr>
            <a:cxnSpLocks/>
          </p:cNvCxnSpPr>
          <p:nvPr/>
        </p:nvCxnSpPr>
        <p:spPr>
          <a:xfrm>
            <a:off x="1689251" y="2829052"/>
            <a:ext cx="88199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="" xmlns:a16="http://schemas.microsoft.com/office/drawing/2014/main" id="{A0E7E6D4-E439-4176-B96A-A0B87601AF7D}"/>
              </a:ext>
            </a:extLst>
          </p:cNvPr>
          <p:cNvCxnSpPr>
            <a:cxnSpLocks/>
            <a:endCxn id="13" idx="4"/>
          </p:cNvCxnSpPr>
          <p:nvPr/>
        </p:nvCxnSpPr>
        <p:spPr>
          <a:xfrm flipV="1">
            <a:off x="6096000" y="2703894"/>
            <a:ext cx="1" cy="12325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="" xmlns:a16="http://schemas.microsoft.com/office/drawing/2014/main" id="{C2D3B41C-0A92-43E3-A296-1596F0A4BCFA}"/>
              </a:ext>
            </a:extLst>
          </p:cNvPr>
          <p:cNvSpPr/>
          <p:nvPr/>
        </p:nvSpPr>
        <p:spPr>
          <a:xfrm>
            <a:off x="5507265" y="1526423"/>
            <a:ext cx="1177471" cy="1177471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8" name="图片 12">
            <a:extLst>
              <a:ext uri="{FF2B5EF4-FFF2-40B4-BE49-F238E27FC236}">
                <a16:creationId xmlns="" xmlns:a16="http://schemas.microsoft.com/office/drawing/2014/main" id="{5777AF94-D6FF-4E34-B705-F46F63FD24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082" y="1700553"/>
            <a:ext cx="692865" cy="520949"/>
          </a:xfrm>
          <a:prstGeom prst="rect">
            <a:avLst/>
          </a:prstGeom>
        </p:spPr>
      </p:pic>
      <p:sp>
        <p:nvSpPr>
          <p:cNvPr id="179" name="文本框 13">
            <a:extLst>
              <a:ext uri="{FF2B5EF4-FFF2-40B4-BE49-F238E27FC236}">
                <a16:creationId xmlns="" xmlns:a16="http://schemas.microsoft.com/office/drawing/2014/main" id="{370673DB-B5A3-41E3-ABB5-8BCE7AB7673B}"/>
              </a:ext>
            </a:extLst>
          </p:cNvPr>
          <p:cNvSpPr txBox="1"/>
          <p:nvPr/>
        </p:nvSpPr>
        <p:spPr>
          <a:xfrm>
            <a:off x="5709052" y="2294367"/>
            <a:ext cx="773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Source</a:t>
            </a:r>
            <a:endParaRPr lang="zh-CN" altLang="en-US" sz="1400" b="1" dirty="0">
              <a:solidFill>
                <a:srgbClr val="C0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80" name="Straight Connector 179">
            <a:extLst>
              <a:ext uri="{FF2B5EF4-FFF2-40B4-BE49-F238E27FC236}">
                <a16:creationId xmlns="" xmlns:a16="http://schemas.microsoft.com/office/drawing/2014/main" id="{0DB66D1D-7597-46E4-89C6-819D6457CA6D}"/>
              </a:ext>
            </a:extLst>
          </p:cNvPr>
          <p:cNvCxnSpPr>
            <a:cxnSpLocks/>
          </p:cNvCxnSpPr>
          <p:nvPr/>
        </p:nvCxnSpPr>
        <p:spPr>
          <a:xfrm flipV="1">
            <a:off x="1689251" y="2835143"/>
            <a:ext cx="0" cy="180022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="" xmlns:a16="http://schemas.microsoft.com/office/drawing/2014/main" id="{1AE7D68A-7621-4B93-B6B9-8A415D48C98E}"/>
              </a:ext>
            </a:extLst>
          </p:cNvPr>
          <p:cNvCxnSpPr>
            <a:cxnSpLocks/>
          </p:cNvCxnSpPr>
          <p:nvPr/>
        </p:nvCxnSpPr>
        <p:spPr>
          <a:xfrm flipV="1">
            <a:off x="4695825" y="2827147"/>
            <a:ext cx="0" cy="180022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="" xmlns:a16="http://schemas.microsoft.com/office/drawing/2014/main" id="{A9A1969F-3DFA-421F-A643-CD3B1BE8D5E3}"/>
              </a:ext>
            </a:extLst>
          </p:cNvPr>
          <p:cNvCxnSpPr>
            <a:cxnSpLocks/>
          </p:cNvCxnSpPr>
          <p:nvPr/>
        </p:nvCxnSpPr>
        <p:spPr>
          <a:xfrm flipV="1">
            <a:off x="7820025" y="2828100"/>
            <a:ext cx="0" cy="180022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="" xmlns:a16="http://schemas.microsoft.com/office/drawing/2014/main" id="{0792F8EF-90F2-4771-BCA3-9FAE6B485674}"/>
              </a:ext>
            </a:extLst>
          </p:cNvPr>
          <p:cNvCxnSpPr>
            <a:cxnSpLocks/>
          </p:cNvCxnSpPr>
          <p:nvPr/>
        </p:nvCxnSpPr>
        <p:spPr>
          <a:xfrm flipV="1">
            <a:off x="10506075" y="2838662"/>
            <a:ext cx="0" cy="180022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Oval 191">
            <a:extLst>
              <a:ext uri="{FF2B5EF4-FFF2-40B4-BE49-F238E27FC236}">
                <a16:creationId xmlns="" xmlns:a16="http://schemas.microsoft.com/office/drawing/2014/main" id="{EFB99A60-6BD9-467C-A065-C8541170EB34}"/>
              </a:ext>
            </a:extLst>
          </p:cNvPr>
          <p:cNvSpPr/>
          <p:nvPr/>
        </p:nvSpPr>
        <p:spPr>
          <a:xfrm>
            <a:off x="3843538" y="3018684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Oval 192">
            <a:extLst>
              <a:ext uri="{FF2B5EF4-FFF2-40B4-BE49-F238E27FC236}">
                <a16:creationId xmlns="" xmlns:a16="http://schemas.microsoft.com/office/drawing/2014/main" id="{71861636-4C76-4C8A-9082-71B79A16213E}"/>
              </a:ext>
            </a:extLst>
          </p:cNvPr>
          <p:cNvSpPr/>
          <p:nvPr/>
        </p:nvSpPr>
        <p:spPr>
          <a:xfrm>
            <a:off x="4457577" y="3018684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Oval 193">
            <a:extLst>
              <a:ext uri="{FF2B5EF4-FFF2-40B4-BE49-F238E27FC236}">
                <a16:creationId xmlns="" xmlns:a16="http://schemas.microsoft.com/office/drawing/2014/main" id="{8552B8EF-1C59-4792-A077-5982EC76C59A}"/>
              </a:ext>
            </a:extLst>
          </p:cNvPr>
          <p:cNvSpPr/>
          <p:nvPr/>
        </p:nvSpPr>
        <p:spPr>
          <a:xfrm>
            <a:off x="5071615" y="3018684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9" name="图片 13">
            <a:extLst>
              <a:ext uri="{FF2B5EF4-FFF2-40B4-BE49-F238E27FC236}">
                <a16:creationId xmlns="" xmlns:a16="http://schemas.microsoft.com/office/drawing/2014/main" id="{26CADCE7-F505-4383-BB53-565325F0EA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4515" y="3993732"/>
            <a:ext cx="326691" cy="132458"/>
          </a:xfrm>
          <a:prstGeom prst="rect">
            <a:avLst/>
          </a:prstGeom>
        </p:spPr>
      </p:pic>
      <p:pic>
        <p:nvPicPr>
          <p:cNvPr id="203" name="图片 27">
            <a:extLst>
              <a:ext uri="{FF2B5EF4-FFF2-40B4-BE49-F238E27FC236}">
                <a16:creationId xmlns="" xmlns:a16="http://schemas.microsoft.com/office/drawing/2014/main" id="{BAB89815-F3D2-4515-84F4-236A6DF0DD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065" y="3996078"/>
            <a:ext cx="343545" cy="139546"/>
          </a:xfrm>
          <a:prstGeom prst="rect">
            <a:avLst/>
          </a:prstGeom>
        </p:spPr>
      </p:pic>
      <p:pic>
        <p:nvPicPr>
          <p:cNvPr id="205" name="图片 4">
            <a:extLst>
              <a:ext uri="{FF2B5EF4-FFF2-40B4-BE49-F238E27FC236}">
                <a16:creationId xmlns="" xmlns:a16="http://schemas.microsoft.com/office/drawing/2014/main" id="{FA8F9F88-0839-4542-99FA-B88408EA042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2921" y="3205218"/>
            <a:ext cx="316752" cy="128428"/>
          </a:xfrm>
          <a:prstGeom prst="rect">
            <a:avLst/>
          </a:prstGeom>
        </p:spPr>
      </p:pic>
      <p:pic>
        <p:nvPicPr>
          <p:cNvPr id="208" name="图片 6">
            <a:extLst>
              <a:ext uri="{FF2B5EF4-FFF2-40B4-BE49-F238E27FC236}">
                <a16:creationId xmlns="" xmlns:a16="http://schemas.microsoft.com/office/drawing/2014/main" id="{CD884F07-4900-4641-9E4C-EC5FE846965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9268" y="3203380"/>
            <a:ext cx="309354" cy="125201"/>
          </a:xfrm>
          <a:prstGeom prst="rect">
            <a:avLst/>
          </a:prstGeom>
        </p:spPr>
      </p:pic>
      <p:pic>
        <p:nvPicPr>
          <p:cNvPr id="210" name="图片 13">
            <a:extLst>
              <a:ext uri="{FF2B5EF4-FFF2-40B4-BE49-F238E27FC236}">
                <a16:creationId xmlns="" xmlns:a16="http://schemas.microsoft.com/office/drawing/2014/main" id="{DB0081D0-D86A-43F1-8091-82239ACF3DE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122" y="3215863"/>
            <a:ext cx="351460" cy="100236"/>
          </a:xfrm>
          <a:prstGeom prst="rect">
            <a:avLst/>
          </a:prstGeom>
        </p:spPr>
      </p:pic>
      <p:sp>
        <p:nvSpPr>
          <p:cNvPr id="212" name="矩形 16">
            <a:extLst>
              <a:ext uri="{FF2B5EF4-FFF2-40B4-BE49-F238E27FC236}">
                <a16:creationId xmlns="" xmlns:a16="http://schemas.microsoft.com/office/drawing/2014/main" id="{F4A5D3D9-BFAE-4FD8-9081-661342F32390}"/>
              </a:ext>
            </a:extLst>
          </p:cNvPr>
          <p:cNvSpPr/>
          <p:nvPr/>
        </p:nvSpPr>
        <p:spPr>
          <a:xfrm>
            <a:off x="3843538" y="3568565"/>
            <a:ext cx="48081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0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HSM</a:t>
            </a:r>
            <a:endParaRPr lang="zh-CN" altLang="en-US" sz="1000" dirty="0"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13" name="矩形 16">
            <a:extLst>
              <a:ext uri="{FF2B5EF4-FFF2-40B4-BE49-F238E27FC236}">
                <a16:creationId xmlns="" xmlns:a16="http://schemas.microsoft.com/office/drawing/2014/main" id="{151E0CC1-9A76-4106-A6E5-43F7927D8532}"/>
              </a:ext>
            </a:extLst>
          </p:cNvPr>
          <p:cNvSpPr/>
          <p:nvPr/>
        </p:nvSpPr>
        <p:spPr>
          <a:xfrm>
            <a:off x="4454002" y="3568565"/>
            <a:ext cx="48081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000" dirty="0" smtClean="0">
                <a:latin typeface="思源黑体 CN Regular" panose="020B0500000000000000" pitchFamily="34" charset="-122"/>
                <a:ea typeface="思源黑体 CN Regular" panose="020B0500000000000000" pitchFamily="34" charset="-122"/>
              </a:rPr>
              <a:t>BDS</a:t>
            </a:r>
            <a:endParaRPr lang="zh-CN" altLang="en-US" sz="1000" dirty="0">
              <a:latin typeface="思源黑体 CN Regular" panose="020B0500000000000000" pitchFamily="34" charset="-122"/>
              <a:ea typeface="思源黑体 CN Regular" panose="020B0500000000000000" pitchFamily="34" charset="-122"/>
            </a:endParaRPr>
          </a:p>
        </p:txBody>
      </p:sp>
      <p:sp>
        <p:nvSpPr>
          <p:cNvPr id="214" name="矩形 16">
            <a:extLst>
              <a:ext uri="{FF2B5EF4-FFF2-40B4-BE49-F238E27FC236}">
                <a16:creationId xmlns="" xmlns:a16="http://schemas.microsoft.com/office/drawing/2014/main" id="{D84104D7-2067-490B-BC61-0D26DD015582}"/>
              </a:ext>
            </a:extLst>
          </p:cNvPr>
          <p:cNvSpPr/>
          <p:nvPr/>
        </p:nvSpPr>
        <p:spPr>
          <a:xfrm>
            <a:off x="5071615" y="3568565"/>
            <a:ext cx="48081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000" dirty="0">
                <a:ea typeface="思源黑体 CN Regular" panose="020B0500000000000000" pitchFamily="34" charset="-122"/>
              </a:rPr>
              <a:t>ADC</a:t>
            </a:r>
            <a:endParaRPr lang="zh-CN" altLang="en-US" sz="1000" dirty="0">
              <a:ea typeface="思源黑体 CN Regular" panose="020B0500000000000000" pitchFamily="34" charset="-122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FE3561FA-2E84-4E38-B074-72C905683948}"/>
              </a:ext>
            </a:extLst>
          </p:cNvPr>
          <p:cNvGrpSpPr/>
          <p:nvPr/>
        </p:nvGrpSpPr>
        <p:grpSpPr>
          <a:xfrm>
            <a:off x="4149202" y="3819156"/>
            <a:ext cx="1098427" cy="721982"/>
            <a:chOff x="4454002" y="4138434"/>
            <a:chExt cx="1098427" cy="721982"/>
          </a:xfrm>
        </p:grpSpPr>
        <p:sp>
          <p:nvSpPr>
            <p:cNvPr id="196" name="Oval 195">
              <a:extLst>
                <a:ext uri="{FF2B5EF4-FFF2-40B4-BE49-F238E27FC236}">
                  <a16:creationId xmlns="" xmlns:a16="http://schemas.microsoft.com/office/drawing/2014/main" id="{C7C65D63-0953-4960-BF6F-88E0538941B1}"/>
                </a:ext>
              </a:extLst>
            </p:cNvPr>
            <p:cNvSpPr/>
            <p:nvPr/>
          </p:nvSpPr>
          <p:spPr>
            <a:xfrm>
              <a:off x="4455418" y="4138434"/>
              <a:ext cx="480814" cy="480814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>
              <a:extLst>
                <a:ext uri="{FF2B5EF4-FFF2-40B4-BE49-F238E27FC236}">
                  <a16:creationId xmlns="" xmlns:a16="http://schemas.microsoft.com/office/drawing/2014/main" id="{F5E05452-979B-4CAB-83DB-6777D7BF6D84}"/>
                </a:ext>
              </a:extLst>
            </p:cNvPr>
            <p:cNvSpPr/>
            <p:nvPr/>
          </p:nvSpPr>
          <p:spPr>
            <a:xfrm>
              <a:off x="5069456" y="4138434"/>
              <a:ext cx="480814" cy="480814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6" name="矩形 16">
              <a:extLst>
                <a:ext uri="{FF2B5EF4-FFF2-40B4-BE49-F238E27FC236}">
                  <a16:creationId xmlns="" xmlns:a16="http://schemas.microsoft.com/office/drawing/2014/main" id="{08A0CFFC-E33A-46EB-B4EB-DF1095917A33}"/>
                </a:ext>
              </a:extLst>
            </p:cNvPr>
            <p:cNvSpPr/>
            <p:nvPr/>
          </p:nvSpPr>
          <p:spPr>
            <a:xfrm>
              <a:off x="4454002" y="4706528"/>
              <a:ext cx="480814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1000" dirty="0">
                  <a:ea typeface="思源黑体 CN Regular" panose="020B0500000000000000" pitchFamily="34" charset="-122"/>
                </a:rPr>
                <a:t>NGFW</a:t>
              </a:r>
              <a:endParaRPr lang="zh-CN" altLang="en-US" sz="1000" dirty="0">
                <a:ea typeface="思源黑体 CN Regular" panose="020B0500000000000000" pitchFamily="34" charset="-122"/>
              </a:endParaRPr>
            </a:p>
          </p:txBody>
        </p:sp>
        <p:sp>
          <p:nvSpPr>
            <p:cNvPr id="217" name="矩形 16">
              <a:extLst>
                <a:ext uri="{FF2B5EF4-FFF2-40B4-BE49-F238E27FC236}">
                  <a16:creationId xmlns="" xmlns:a16="http://schemas.microsoft.com/office/drawing/2014/main" id="{21284474-B3E0-406A-8B89-5DC1B32D1DAA}"/>
                </a:ext>
              </a:extLst>
            </p:cNvPr>
            <p:cNvSpPr/>
            <p:nvPr/>
          </p:nvSpPr>
          <p:spPr>
            <a:xfrm>
              <a:off x="5071615" y="4706528"/>
              <a:ext cx="480814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1000" dirty="0">
                  <a:ea typeface="思源黑体 CN Regular" panose="020B0500000000000000" pitchFamily="34" charset="-122"/>
                </a:rPr>
                <a:t>NIPS</a:t>
              </a:r>
              <a:endParaRPr lang="zh-CN" altLang="en-US" sz="1000" dirty="0">
                <a:ea typeface="思源黑体 CN Regular" panose="020B0500000000000000" pitchFamily="34" charset="-122"/>
              </a:endParaRPr>
            </a:p>
          </p:txBody>
        </p:sp>
      </p:grpSp>
      <p:sp>
        <p:nvSpPr>
          <p:cNvPr id="226" name="Oval 225">
            <a:extLst>
              <a:ext uri="{FF2B5EF4-FFF2-40B4-BE49-F238E27FC236}">
                <a16:creationId xmlns="" xmlns:a16="http://schemas.microsoft.com/office/drawing/2014/main" id="{F3EF2ADE-DB81-4D93-A705-283ACE2B6B20}"/>
              </a:ext>
            </a:extLst>
          </p:cNvPr>
          <p:cNvSpPr/>
          <p:nvPr/>
        </p:nvSpPr>
        <p:spPr>
          <a:xfrm>
            <a:off x="836965" y="3017553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Oval 226">
            <a:extLst>
              <a:ext uri="{FF2B5EF4-FFF2-40B4-BE49-F238E27FC236}">
                <a16:creationId xmlns="" xmlns:a16="http://schemas.microsoft.com/office/drawing/2014/main" id="{C7F89CF3-DCCE-4B22-8A5A-1BE14E150A5D}"/>
              </a:ext>
            </a:extLst>
          </p:cNvPr>
          <p:cNvSpPr/>
          <p:nvPr/>
        </p:nvSpPr>
        <p:spPr>
          <a:xfrm>
            <a:off x="1451004" y="3017553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8" name="Oval 227">
            <a:extLst>
              <a:ext uri="{FF2B5EF4-FFF2-40B4-BE49-F238E27FC236}">
                <a16:creationId xmlns="" xmlns:a16="http://schemas.microsoft.com/office/drawing/2014/main" id="{FCF2EA08-ADC4-420E-97FE-289B07CC374C}"/>
              </a:ext>
            </a:extLst>
          </p:cNvPr>
          <p:cNvSpPr/>
          <p:nvPr/>
        </p:nvSpPr>
        <p:spPr>
          <a:xfrm>
            <a:off x="2065042" y="3017553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1" name="图片 13">
            <a:extLst>
              <a:ext uri="{FF2B5EF4-FFF2-40B4-BE49-F238E27FC236}">
                <a16:creationId xmlns="" xmlns:a16="http://schemas.microsoft.com/office/drawing/2014/main" id="{793C2F1E-F57E-42E3-9E78-8211D933FE7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549" y="3214732"/>
            <a:ext cx="351460" cy="100236"/>
          </a:xfrm>
          <a:prstGeom prst="rect">
            <a:avLst/>
          </a:prstGeom>
        </p:spPr>
      </p:pic>
      <p:sp>
        <p:nvSpPr>
          <p:cNvPr id="232" name="矩形 16">
            <a:extLst>
              <a:ext uri="{FF2B5EF4-FFF2-40B4-BE49-F238E27FC236}">
                <a16:creationId xmlns="" xmlns:a16="http://schemas.microsoft.com/office/drawing/2014/main" id="{3AF527B9-D4CC-4FF9-A60F-561970306C86}"/>
              </a:ext>
            </a:extLst>
          </p:cNvPr>
          <p:cNvSpPr/>
          <p:nvPr/>
        </p:nvSpPr>
        <p:spPr>
          <a:xfrm>
            <a:off x="836965" y="3567434"/>
            <a:ext cx="48081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000" dirty="0">
                <a:ea typeface="思源黑体 CN Regular" panose="020B0500000000000000" pitchFamily="34" charset="-122"/>
              </a:rPr>
              <a:t>NGFW</a:t>
            </a:r>
            <a:endParaRPr lang="zh-CN" altLang="en-US" sz="1000" dirty="0">
              <a:ea typeface="思源黑体 CN Regular" panose="020B0500000000000000" pitchFamily="34" charset="-122"/>
            </a:endParaRPr>
          </a:p>
        </p:txBody>
      </p:sp>
      <p:sp>
        <p:nvSpPr>
          <p:cNvPr id="233" name="矩形 16">
            <a:extLst>
              <a:ext uri="{FF2B5EF4-FFF2-40B4-BE49-F238E27FC236}">
                <a16:creationId xmlns="" xmlns:a16="http://schemas.microsoft.com/office/drawing/2014/main" id="{ADE88851-B44A-4BC0-BC18-45B7796F93D5}"/>
              </a:ext>
            </a:extLst>
          </p:cNvPr>
          <p:cNvSpPr/>
          <p:nvPr/>
        </p:nvSpPr>
        <p:spPr>
          <a:xfrm>
            <a:off x="1447429" y="3567434"/>
            <a:ext cx="48081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000" dirty="0" smtClean="0">
                <a:latin typeface="思源黑体 CN Regular" panose="020B0500000000000000" pitchFamily="34" charset="-122"/>
                <a:ea typeface="思源黑体 CN Regular" panose="020B0500000000000000" pitchFamily="34" charset="-122"/>
              </a:rPr>
              <a:t>BDS</a:t>
            </a:r>
            <a:endParaRPr lang="zh-CN" altLang="en-US" sz="1000" dirty="0">
              <a:latin typeface="思源黑体 CN Regular" panose="020B0500000000000000" pitchFamily="34" charset="-122"/>
              <a:ea typeface="思源黑体 CN Regular" panose="020B0500000000000000" pitchFamily="34" charset="-122"/>
            </a:endParaRPr>
          </a:p>
        </p:txBody>
      </p:sp>
      <p:sp>
        <p:nvSpPr>
          <p:cNvPr id="234" name="矩形 16">
            <a:extLst>
              <a:ext uri="{FF2B5EF4-FFF2-40B4-BE49-F238E27FC236}">
                <a16:creationId xmlns="" xmlns:a16="http://schemas.microsoft.com/office/drawing/2014/main" id="{5BCD54E3-BEBF-4EA7-95E6-353457B5C11A}"/>
              </a:ext>
            </a:extLst>
          </p:cNvPr>
          <p:cNvSpPr/>
          <p:nvPr/>
        </p:nvSpPr>
        <p:spPr>
          <a:xfrm>
            <a:off x="2065042" y="3567434"/>
            <a:ext cx="48081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000" dirty="0">
                <a:ea typeface="思源黑体 CN Regular" panose="020B0500000000000000" pitchFamily="34" charset="-122"/>
              </a:rPr>
              <a:t>NIPS</a:t>
            </a:r>
            <a:endParaRPr lang="zh-CN" altLang="en-US" sz="1000" dirty="0">
              <a:ea typeface="思源黑体 CN Regular" panose="020B0500000000000000" pitchFamily="34" charset="-122"/>
            </a:endParaRPr>
          </a:p>
        </p:txBody>
      </p:sp>
      <p:pic>
        <p:nvPicPr>
          <p:cNvPr id="235" name="图片 13">
            <a:extLst>
              <a:ext uri="{FF2B5EF4-FFF2-40B4-BE49-F238E27FC236}">
                <a16:creationId xmlns="" xmlns:a16="http://schemas.microsoft.com/office/drawing/2014/main" id="{3A07853F-C795-4056-B3D7-AFC1C08EB7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938" y="3203380"/>
            <a:ext cx="334868" cy="135774"/>
          </a:xfrm>
          <a:prstGeom prst="rect">
            <a:avLst/>
          </a:prstGeom>
        </p:spPr>
      </p:pic>
      <p:pic>
        <p:nvPicPr>
          <p:cNvPr id="236" name="图片 13">
            <a:extLst>
              <a:ext uri="{FF2B5EF4-FFF2-40B4-BE49-F238E27FC236}">
                <a16:creationId xmlns="" xmlns:a16="http://schemas.microsoft.com/office/drawing/2014/main" id="{EF013AF0-EA2C-418B-A4EA-34FD03A7AC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8015" y="3201421"/>
            <a:ext cx="334868" cy="135774"/>
          </a:xfrm>
          <a:prstGeom prst="rect">
            <a:avLst/>
          </a:prstGeom>
        </p:spPr>
      </p:pic>
      <p:sp>
        <p:nvSpPr>
          <p:cNvPr id="237" name="Oval 236">
            <a:extLst>
              <a:ext uri="{FF2B5EF4-FFF2-40B4-BE49-F238E27FC236}">
                <a16:creationId xmlns="" xmlns:a16="http://schemas.microsoft.com/office/drawing/2014/main" id="{EF4E7C79-B428-4181-8402-7C28F111B9C3}"/>
              </a:ext>
            </a:extLst>
          </p:cNvPr>
          <p:cNvSpPr/>
          <p:nvPr/>
        </p:nvSpPr>
        <p:spPr>
          <a:xfrm>
            <a:off x="9651466" y="3018685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8" name="Oval 237">
            <a:extLst>
              <a:ext uri="{FF2B5EF4-FFF2-40B4-BE49-F238E27FC236}">
                <a16:creationId xmlns="" xmlns:a16="http://schemas.microsoft.com/office/drawing/2014/main" id="{A2F6C828-5808-49C7-AF00-94376C48A75A}"/>
              </a:ext>
            </a:extLst>
          </p:cNvPr>
          <p:cNvSpPr/>
          <p:nvPr/>
        </p:nvSpPr>
        <p:spPr>
          <a:xfrm>
            <a:off x="10265505" y="3018685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9" name="Oval 238">
            <a:extLst>
              <a:ext uri="{FF2B5EF4-FFF2-40B4-BE49-F238E27FC236}">
                <a16:creationId xmlns="" xmlns:a16="http://schemas.microsoft.com/office/drawing/2014/main" id="{D7B08DC0-E981-44A7-AD04-2B52C75D874D}"/>
              </a:ext>
            </a:extLst>
          </p:cNvPr>
          <p:cNvSpPr/>
          <p:nvPr/>
        </p:nvSpPr>
        <p:spPr>
          <a:xfrm>
            <a:off x="10879543" y="3018685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1" name="矩形 16">
            <a:extLst>
              <a:ext uri="{FF2B5EF4-FFF2-40B4-BE49-F238E27FC236}">
                <a16:creationId xmlns="" xmlns:a16="http://schemas.microsoft.com/office/drawing/2014/main" id="{20252B8D-C90A-4E51-BCE4-47A67ED14367}"/>
              </a:ext>
            </a:extLst>
          </p:cNvPr>
          <p:cNvSpPr/>
          <p:nvPr/>
        </p:nvSpPr>
        <p:spPr>
          <a:xfrm>
            <a:off x="9587233" y="3568566"/>
            <a:ext cx="6092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x-none" altLang="zh-CN" sz="1000" dirty="0">
                <a:ea typeface="思源黑体 CN Regular" panose="020B0500000000000000" pitchFamily="34" charset="-122"/>
              </a:rPr>
              <a:t>CloudEdge</a:t>
            </a:r>
            <a:endParaRPr lang="zh-CN" altLang="en-US" sz="1000" dirty="0">
              <a:ea typeface="思源黑体 CN Regular" panose="020B0500000000000000" pitchFamily="34" charset="-122"/>
            </a:endParaRPr>
          </a:p>
        </p:txBody>
      </p:sp>
      <p:sp>
        <p:nvSpPr>
          <p:cNvPr id="242" name="矩形 16">
            <a:extLst>
              <a:ext uri="{FF2B5EF4-FFF2-40B4-BE49-F238E27FC236}">
                <a16:creationId xmlns="" xmlns:a16="http://schemas.microsoft.com/office/drawing/2014/main" id="{7B967F37-48CE-4F78-90CE-0477499F53BE}"/>
              </a:ext>
            </a:extLst>
          </p:cNvPr>
          <p:cNvSpPr/>
          <p:nvPr/>
        </p:nvSpPr>
        <p:spPr>
          <a:xfrm>
            <a:off x="10261930" y="3568566"/>
            <a:ext cx="48081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000" dirty="0">
                <a:ea typeface="思源黑体 CN Regular" panose="020B0500000000000000" pitchFamily="34" charset="-122"/>
              </a:rPr>
              <a:t>vWAF</a:t>
            </a:r>
            <a:endParaRPr lang="zh-CN" altLang="en-US" sz="1000" dirty="0">
              <a:ea typeface="思源黑体 CN Regular" panose="020B0500000000000000" pitchFamily="34" charset="-122"/>
            </a:endParaRPr>
          </a:p>
        </p:txBody>
      </p:sp>
      <p:sp>
        <p:nvSpPr>
          <p:cNvPr id="243" name="矩形 16">
            <a:extLst>
              <a:ext uri="{FF2B5EF4-FFF2-40B4-BE49-F238E27FC236}">
                <a16:creationId xmlns="" xmlns:a16="http://schemas.microsoft.com/office/drawing/2014/main" id="{AEA1398F-7C16-4273-8334-6367F666536A}"/>
              </a:ext>
            </a:extLst>
          </p:cNvPr>
          <p:cNvSpPr/>
          <p:nvPr/>
        </p:nvSpPr>
        <p:spPr>
          <a:xfrm>
            <a:off x="10840143" y="3560871"/>
            <a:ext cx="63580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x-none" altLang="zh-CN" sz="1000" dirty="0">
                <a:ea typeface="思源黑体 CN Regular" panose="020B0500000000000000" pitchFamily="34" charset="-122"/>
              </a:rPr>
              <a:t>CloudHive</a:t>
            </a:r>
            <a:endParaRPr lang="zh-CN" altLang="en-US" sz="1000" dirty="0">
              <a:ea typeface="思源黑体 CN Regular" panose="020B0500000000000000" pitchFamily="34" charset="-122"/>
            </a:endParaRPr>
          </a:p>
        </p:txBody>
      </p:sp>
      <p:sp>
        <p:nvSpPr>
          <p:cNvPr id="247" name="Oval 246">
            <a:extLst>
              <a:ext uri="{FF2B5EF4-FFF2-40B4-BE49-F238E27FC236}">
                <a16:creationId xmlns="" xmlns:a16="http://schemas.microsoft.com/office/drawing/2014/main" id="{E33D772B-4BBD-4C36-B2F5-D58997832CBB}"/>
              </a:ext>
            </a:extLst>
          </p:cNvPr>
          <p:cNvSpPr/>
          <p:nvPr/>
        </p:nvSpPr>
        <p:spPr>
          <a:xfrm>
            <a:off x="7597326" y="3018685"/>
            <a:ext cx="480814" cy="480814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1" name="矩形 16">
            <a:extLst>
              <a:ext uri="{FF2B5EF4-FFF2-40B4-BE49-F238E27FC236}">
                <a16:creationId xmlns="" xmlns:a16="http://schemas.microsoft.com/office/drawing/2014/main" id="{0F27DB7D-C44B-41A4-B918-B7E3DDDE9463}"/>
              </a:ext>
            </a:extLst>
          </p:cNvPr>
          <p:cNvSpPr/>
          <p:nvPr/>
        </p:nvSpPr>
        <p:spPr>
          <a:xfrm>
            <a:off x="7086291" y="3568566"/>
            <a:ext cx="1495734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dirty="0">
                <a:ea typeface="思源黑体 CN Regular" panose="020B0500000000000000" pitchFamily="34" charset="-122"/>
              </a:rPr>
              <a:t>Linux Syslog/ Sysmon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="" xmlns:a16="http://schemas.microsoft.com/office/drawing/2014/main" id="{EACDFB37-8EBE-47E4-A3D6-87FE6CDB8CAA}"/>
              </a:ext>
            </a:extLst>
          </p:cNvPr>
          <p:cNvGrpSpPr/>
          <p:nvPr/>
        </p:nvGrpSpPr>
        <p:grpSpPr>
          <a:xfrm>
            <a:off x="7657190" y="3134200"/>
            <a:ext cx="353935" cy="276364"/>
            <a:chOff x="7575628" y="3315327"/>
            <a:chExt cx="720651" cy="562707"/>
          </a:xfrm>
        </p:grpSpPr>
        <p:pic>
          <p:nvPicPr>
            <p:cNvPr id="256" name="Graphic 255" descr="List">
              <a:extLst>
                <a:ext uri="{FF2B5EF4-FFF2-40B4-BE49-F238E27FC236}">
                  <a16:creationId xmlns="" xmlns:a16="http://schemas.microsoft.com/office/drawing/2014/main" id="{02AB94E2-4E00-41D2-A4A1-B3FC4385BF7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575628" y="3315327"/>
              <a:ext cx="562707" cy="562707"/>
            </a:xfrm>
            <a:prstGeom prst="rect">
              <a:avLst/>
            </a:prstGeom>
          </p:spPr>
        </p:pic>
        <p:pic>
          <p:nvPicPr>
            <p:cNvPr id="257" name="Graphic 256" descr="Research">
              <a:extLst>
                <a:ext uri="{FF2B5EF4-FFF2-40B4-BE49-F238E27FC236}">
                  <a16:creationId xmlns="" xmlns:a16="http://schemas.microsoft.com/office/drawing/2014/main" id="{3D21497B-0D00-4926-B1F1-6CD7EA357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60000" y="3412867"/>
              <a:ext cx="436279" cy="436279"/>
            </a:xfrm>
            <a:prstGeom prst="rect">
              <a:avLst/>
            </a:prstGeom>
          </p:spPr>
        </p:pic>
      </p:grpSp>
      <p:pic>
        <p:nvPicPr>
          <p:cNvPr id="262" name="图片 5">
            <a:extLst>
              <a:ext uri="{FF2B5EF4-FFF2-40B4-BE49-F238E27FC236}">
                <a16:creationId xmlns="" xmlns:a16="http://schemas.microsoft.com/office/drawing/2014/main" id="{1EDB7703-402E-4284-98DF-EF862C65144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2180" y="3087751"/>
            <a:ext cx="320314" cy="332895"/>
          </a:xfrm>
          <a:prstGeom prst="rect">
            <a:avLst/>
          </a:prstGeom>
        </p:spPr>
      </p:pic>
      <p:pic>
        <p:nvPicPr>
          <p:cNvPr id="265" name="图片 9">
            <a:extLst>
              <a:ext uri="{FF2B5EF4-FFF2-40B4-BE49-F238E27FC236}">
                <a16:creationId xmlns="" xmlns:a16="http://schemas.microsoft.com/office/drawing/2014/main" id="{3E907A8A-1E06-4338-83E7-D4A3F0DDFC8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2510" y="3126997"/>
            <a:ext cx="354880" cy="233278"/>
          </a:xfrm>
          <a:prstGeom prst="rect">
            <a:avLst/>
          </a:prstGeom>
        </p:spPr>
      </p:pic>
      <p:pic>
        <p:nvPicPr>
          <p:cNvPr id="268" name="图片 10">
            <a:extLst>
              <a:ext uri="{FF2B5EF4-FFF2-40B4-BE49-F238E27FC236}">
                <a16:creationId xmlns="" xmlns:a16="http://schemas.microsoft.com/office/drawing/2014/main" id="{42BF1EF2-752C-4A64-AD51-BEA74C1EE86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0662" y="3134200"/>
            <a:ext cx="354881" cy="232508"/>
          </a:xfrm>
          <a:prstGeom prst="rect">
            <a:avLst/>
          </a:prstGeom>
        </p:spPr>
      </p:pic>
      <p:sp>
        <p:nvSpPr>
          <p:cNvPr id="272" name="矩形 16">
            <a:extLst>
              <a:ext uri="{FF2B5EF4-FFF2-40B4-BE49-F238E27FC236}">
                <a16:creationId xmlns="" xmlns:a16="http://schemas.microsoft.com/office/drawing/2014/main" id="{4462D8DD-69D0-420E-87A5-AD72BAA11AB4}"/>
              </a:ext>
            </a:extLst>
          </p:cNvPr>
          <p:cNvSpPr/>
          <p:nvPr/>
        </p:nvSpPr>
        <p:spPr>
          <a:xfrm>
            <a:off x="6935408" y="2113856"/>
            <a:ext cx="2037470" cy="5642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 defTabSz="60957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x-none" sz="1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data</a:t>
            </a:r>
          </a:p>
          <a:p>
            <a:pPr marL="171450" indent="-171450" defTabSz="60957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x-none" sz="1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flow</a:t>
            </a:r>
          </a:p>
          <a:p>
            <a:pPr marL="171450" indent="-171450" defTabSz="60957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x-none" sz="1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sed logs from 3rd party</a:t>
            </a:r>
          </a:p>
        </p:txBody>
      </p:sp>
      <p:sp>
        <p:nvSpPr>
          <p:cNvPr id="273" name="矩形 16">
            <a:extLst>
              <a:ext uri="{FF2B5EF4-FFF2-40B4-BE49-F238E27FC236}">
                <a16:creationId xmlns="" xmlns:a16="http://schemas.microsoft.com/office/drawing/2014/main" id="{11261A89-1863-4744-9FE9-6952B412610B}"/>
              </a:ext>
            </a:extLst>
          </p:cNvPr>
          <p:cNvSpPr/>
          <p:nvPr/>
        </p:nvSpPr>
        <p:spPr>
          <a:xfrm>
            <a:off x="8972878" y="2136939"/>
            <a:ext cx="2037470" cy="5180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 defTabSz="60957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x-none" sz="1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logs</a:t>
            </a:r>
          </a:p>
          <a:p>
            <a:pPr marL="171450" indent="-171450" defTabSz="60957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x-none" sz="1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mon</a:t>
            </a:r>
          </a:p>
          <a:p>
            <a:pPr marL="171450" indent="-171450" defTabSz="60957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x-none" sz="1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erability reports</a:t>
            </a:r>
          </a:p>
        </p:txBody>
      </p:sp>
      <p:grpSp>
        <p:nvGrpSpPr>
          <p:cNvPr id="274" name="Group 273">
            <a:extLst>
              <a:ext uri="{FF2B5EF4-FFF2-40B4-BE49-F238E27FC236}">
                <a16:creationId xmlns="" xmlns:a16="http://schemas.microsoft.com/office/drawing/2014/main" id="{59A11B70-F33A-43CA-ABBB-4990BE8C7154}"/>
              </a:ext>
            </a:extLst>
          </p:cNvPr>
          <p:cNvGrpSpPr/>
          <p:nvPr/>
        </p:nvGrpSpPr>
        <p:grpSpPr>
          <a:xfrm>
            <a:off x="1897750" y="5311762"/>
            <a:ext cx="852756" cy="452883"/>
            <a:chOff x="1591362" y="3385942"/>
            <a:chExt cx="505422" cy="268420"/>
          </a:xfrm>
        </p:grpSpPr>
        <p:pic>
          <p:nvPicPr>
            <p:cNvPr id="275" name="Picture 274">
              <a:extLst>
                <a:ext uri="{FF2B5EF4-FFF2-40B4-BE49-F238E27FC236}">
                  <a16:creationId xmlns="" xmlns:a16="http://schemas.microsoft.com/office/drawing/2014/main" id="{1CA64D9D-7593-4E35-BAD0-F93FB06328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biLevel thresh="75000"/>
            </a:blip>
            <a:stretch>
              <a:fillRect/>
            </a:stretch>
          </p:blipFill>
          <p:spPr bwMode="auto">
            <a:xfrm>
              <a:off x="1976627" y="3443288"/>
              <a:ext cx="120157" cy="204624"/>
            </a:xfrm>
            <a:prstGeom prst="rect">
              <a:avLst/>
            </a:prstGeom>
          </p:spPr>
        </p:pic>
        <p:pic>
          <p:nvPicPr>
            <p:cNvPr id="276" name="Picture 275" descr="A screenshot of a cell phone&#10;&#10;Description generated with high confidence">
              <a:extLst>
                <a:ext uri="{FF2B5EF4-FFF2-40B4-BE49-F238E27FC236}">
                  <a16:creationId xmlns="" xmlns:a16="http://schemas.microsoft.com/office/drawing/2014/main" id="{B4FA226F-4197-424E-BEC8-E95E2D2BEA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biLevel thresh="75000"/>
            </a:blip>
            <a:stretch>
              <a:fillRect/>
            </a:stretch>
          </p:blipFill>
          <p:spPr bwMode="auto">
            <a:xfrm>
              <a:off x="1591362" y="3385942"/>
              <a:ext cx="348863" cy="268420"/>
            </a:xfrm>
            <a:prstGeom prst="rect">
              <a:avLst/>
            </a:prstGeom>
          </p:spPr>
        </p:pic>
      </p:grpSp>
      <p:pic>
        <p:nvPicPr>
          <p:cNvPr id="277" name="Picture 276">
            <a:extLst>
              <a:ext uri="{FF2B5EF4-FFF2-40B4-BE49-F238E27FC236}">
                <a16:creationId xmlns="" xmlns:a16="http://schemas.microsoft.com/office/drawing/2014/main" id="{80EF5A49-1DD0-459B-BCE4-AF8299A006C3}"/>
              </a:ext>
            </a:extLst>
          </p:cNvPr>
          <p:cNvPicPr>
            <a:picLocks noChangeAspect="1"/>
          </p:cNvPicPr>
          <p:nvPr/>
        </p:nvPicPr>
        <p:blipFill>
          <a:blip r:embed="rId18">
            <a:biLevel thresh="75000"/>
          </a:blip>
          <a:stretch>
            <a:fillRect/>
          </a:stretch>
        </p:blipFill>
        <p:spPr bwMode="auto">
          <a:xfrm>
            <a:off x="1010268" y="5234389"/>
            <a:ext cx="615021" cy="536307"/>
          </a:xfrm>
          <a:prstGeom prst="rect">
            <a:avLst/>
          </a:prstGeom>
        </p:spPr>
      </p:pic>
      <p:sp>
        <p:nvSpPr>
          <p:cNvPr id="278" name="TextBox 183">
            <a:extLst>
              <a:ext uri="{FF2B5EF4-FFF2-40B4-BE49-F238E27FC236}">
                <a16:creationId xmlns="" xmlns:a16="http://schemas.microsoft.com/office/drawing/2014/main" id="{37899509-3899-4410-84BC-C1D6532435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77700" y="5839062"/>
            <a:ext cx="827328" cy="212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609570">
              <a:lnSpc>
                <a:spcPct val="90000"/>
              </a:lnSpc>
              <a:defRPr/>
            </a:pPr>
            <a:r>
              <a:rPr lang="en-US" altLang="en-US" sz="1200" dirty="0">
                <a:solidFill>
                  <a:srgbClr val="000000"/>
                </a:solidFill>
                <a:latin typeface="Arial" panose="020B0604020202020204"/>
              </a:rPr>
              <a:t>Users</a:t>
            </a:r>
          </a:p>
        </p:txBody>
      </p:sp>
      <p:sp>
        <p:nvSpPr>
          <p:cNvPr id="279" name="TextBox 82">
            <a:extLst>
              <a:ext uri="{FF2B5EF4-FFF2-40B4-BE49-F238E27FC236}">
                <a16:creationId xmlns="" xmlns:a16="http://schemas.microsoft.com/office/drawing/2014/main" id="{B64BC8E9-BB36-4DCA-8018-F2B2245957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237" y="5839062"/>
            <a:ext cx="1281872" cy="212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609570">
              <a:lnSpc>
                <a:spcPct val="90000"/>
              </a:lnSpc>
              <a:defRPr/>
            </a:pPr>
            <a:r>
              <a:rPr lang="en-US" altLang="en-US" sz="1200" dirty="0">
                <a:solidFill>
                  <a:srgbClr val="000000"/>
                </a:solidFill>
                <a:latin typeface="Arial" panose="020B0604020202020204"/>
              </a:rPr>
              <a:t>Branch Office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="" xmlns:a16="http://schemas.microsoft.com/office/drawing/2014/main" id="{7005B08E-CD55-4EBF-B072-84C221AE53C9}"/>
              </a:ext>
            </a:extLst>
          </p:cNvPr>
          <p:cNvSpPr txBox="1"/>
          <p:nvPr/>
        </p:nvSpPr>
        <p:spPr>
          <a:xfrm>
            <a:off x="3814583" y="5839062"/>
            <a:ext cx="1775168" cy="212366"/>
          </a:xfrm>
          <a:prstGeom prst="rect">
            <a:avLst/>
          </a:prstGeom>
          <a:noFill/>
        </p:spPr>
        <p:txBody>
          <a:bodyPr wrap="square" bIns="0">
            <a:spAutoFit/>
          </a:bodyPr>
          <a:lstStyle/>
          <a:p>
            <a:pPr algn="ctr" defTabSz="609570">
              <a:lnSpc>
                <a:spcPct val="90000"/>
              </a:lnSpc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/>
              </a:rPr>
              <a:t>Campus Networks</a:t>
            </a:r>
          </a:p>
        </p:txBody>
      </p:sp>
      <p:pic>
        <p:nvPicPr>
          <p:cNvPr id="281" name="Picture 280">
            <a:extLst>
              <a:ext uri="{FF2B5EF4-FFF2-40B4-BE49-F238E27FC236}">
                <a16:creationId xmlns="" xmlns:a16="http://schemas.microsoft.com/office/drawing/2014/main" id="{27B9D073-A156-4256-BD4F-60AB852D50F2}"/>
              </a:ext>
            </a:extLst>
          </p:cNvPr>
          <p:cNvPicPr>
            <a:picLocks noChangeAspect="1"/>
          </p:cNvPicPr>
          <p:nvPr/>
        </p:nvPicPr>
        <p:blipFill>
          <a:blip r:embed="rId19">
            <a:biLevel thresh="75000"/>
          </a:blip>
          <a:stretch>
            <a:fillRect/>
          </a:stretch>
        </p:blipFill>
        <p:spPr>
          <a:xfrm>
            <a:off x="4198920" y="5106421"/>
            <a:ext cx="1006494" cy="658224"/>
          </a:xfrm>
          <a:prstGeom prst="rect">
            <a:avLst/>
          </a:prstGeom>
        </p:spPr>
      </p:pic>
      <p:grpSp>
        <p:nvGrpSpPr>
          <p:cNvPr id="282" name="Group 281">
            <a:extLst>
              <a:ext uri="{FF2B5EF4-FFF2-40B4-BE49-F238E27FC236}">
                <a16:creationId xmlns="" xmlns:a16="http://schemas.microsoft.com/office/drawing/2014/main" id="{EFE8BAC7-7671-4887-8C7A-1A5AA4B8D756}"/>
              </a:ext>
            </a:extLst>
          </p:cNvPr>
          <p:cNvGrpSpPr/>
          <p:nvPr/>
        </p:nvGrpSpPr>
        <p:grpSpPr>
          <a:xfrm>
            <a:off x="6385808" y="5186466"/>
            <a:ext cx="2196217" cy="478737"/>
            <a:chOff x="5444108" y="886853"/>
            <a:chExt cx="1412111" cy="307817"/>
          </a:xfrm>
        </p:grpSpPr>
        <p:pic>
          <p:nvPicPr>
            <p:cNvPr id="283" name="Picture 282" descr="A screenshot of a cell phone&#10;&#10;Description generated with high confidence">
              <a:extLst>
                <a:ext uri="{FF2B5EF4-FFF2-40B4-BE49-F238E27FC236}">
                  <a16:creationId xmlns="" xmlns:a16="http://schemas.microsoft.com/office/drawing/2014/main" id="{89F99352-B139-423D-906D-F40155D28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biLevel thresh="75000"/>
            </a:blip>
            <a:stretch>
              <a:fillRect/>
            </a:stretch>
          </p:blipFill>
          <p:spPr bwMode="auto">
            <a:xfrm>
              <a:off x="5444108" y="901252"/>
              <a:ext cx="354037" cy="272486"/>
            </a:xfrm>
            <a:prstGeom prst="rect">
              <a:avLst/>
            </a:prstGeom>
          </p:spPr>
        </p:pic>
        <p:pic>
          <p:nvPicPr>
            <p:cNvPr id="284" name="Picture 283">
              <a:extLst>
                <a:ext uri="{FF2B5EF4-FFF2-40B4-BE49-F238E27FC236}">
                  <a16:creationId xmlns="" xmlns:a16="http://schemas.microsoft.com/office/drawing/2014/main" id="{44D8BCC5-EC46-4C6A-9B48-C4387854D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biLevel thresh="75000"/>
            </a:blip>
            <a:stretch>
              <a:fillRect/>
            </a:stretch>
          </p:blipFill>
          <p:spPr bwMode="auto">
            <a:xfrm>
              <a:off x="6532880" y="897839"/>
              <a:ext cx="323339" cy="296831"/>
            </a:xfrm>
            <a:prstGeom prst="rect">
              <a:avLst/>
            </a:prstGeom>
          </p:spPr>
        </p:pic>
        <p:pic>
          <p:nvPicPr>
            <p:cNvPr id="285" name="Picture 284" descr="A screenshot of a cell phone&#10;&#10;Description automatically generated">
              <a:extLst>
                <a:ext uri="{FF2B5EF4-FFF2-40B4-BE49-F238E27FC236}">
                  <a16:creationId xmlns="" xmlns:a16="http://schemas.microsoft.com/office/drawing/2014/main" id="{A7FFC923-8DDC-49F1-95C6-624A3EDCF5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biLevel thresh="75000"/>
            </a:blip>
            <a:stretch>
              <a:fillRect/>
            </a:stretch>
          </p:blipFill>
          <p:spPr bwMode="auto">
            <a:xfrm>
              <a:off x="5887023" y="886853"/>
              <a:ext cx="542757" cy="291092"/>
            </a:xfrm>
            <a:prstGeom prst="rect">
              <a:avLst/>
            </a:prstGeom>
          </p:spPr>
        </p:pic>
      </p:grpSp>
      <p:sp>
        <p:nvSpPr>
          <p:cNvPr id="286" name="TextBox 183">
            <a:extLst>
              <a:ext uri="{FF2B5EF4-FFF2-40B4-BE49-F238E27FC236}">
                <a16:creationId xmlns="" xmlns:a16="http://schemas.microsoft.com/office/drawing/2014/main" id="{2F4A3AD1-04AF-4697-BF51-9253C6DCF9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1517" y="5839062"/>
            <a:ext cx="980869" cy="212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609570">
              <a:lnSpc>
                <a:spcPct val="90000"/>
              </a:lnSpc>
              <a:defRPr/>
            </a:pPr>
            <a:r>
              <a:rPr lang="en-US" altLang="en-US" sz="1200" dirty="0">
                <a:solidFill>
                  <a:srgbClr val="000000"/>
                </a:solidFill>
                <a:latin typeface="Arial" panose="020B0604020202020204"/>
              </a:rPr>
              <a:t>Servers</a:t>
            </a:r>
          </a:p>
        </p:txBody>
      </p:sp>
      <p:sp>
        <p:nvSpPr>
          <p:cNvPr id="287" name="TextBox 82">
            <a:extLst>
              <a:ext uri="{FF2B5EF4-FFF2-40B4-BE49-F238E27FC236}">
                <a16:creationId xmlns="" xmlns:a16="http://schemas.microsoft.com/office/drawing/2014/main" id="{4FC99DA4-9824-453B-99D9-3943560778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2270" y="5839062"/>
            <a:ext cx="1138085" cy="212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609570">
              <a:lnSpc>
                <a:spcPct val="90000"/>
              </a:lnSpc>
              <a:defRPr/>
            </a:pPr>
            <a:r>
              <a:rPr lang="en-US" altLang="en-US" sz="1200" dirty="0">
                <a:solidFill>
                  <a:srgbClr val="000000"/>
                </a:solidFill>
                <a:latin typeface="Arial" panose="020B0604020202020204"/>
              </a:rPr>
              <a:t>Endpoints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="" xmlns:a16="http://schemas.microsoft.com/office/drawing/2014/main" id="{E8CF384C-830D-400E-8720-8455DDC70326}"/>
              </a:ext>
            </a:extLst>
          </p:cNvPr>
          <p:cNvSpPr txBox="1"/>
          <p:nvPr/>
        </p:nvSpPr>
        <p:spPr>
          <a:xfrm>
            <a:off x="9358342" y="5862146"/>
            <a:ext cx="1860818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09570">
              <a:lnSpc>
                <a:spcPct val="90000"/>
              </a:lnSpc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/>
              </a:rPr>
              <a:t>Cloud Data Center</a:t>
            </a:r>
          </a:p>
        </p:txBody>
      </p:sp>
      <p:grpSp>
        <p:nvGrpSpPr>
          <p:cNvPr id="290" name="Group 289">
            <a:extLst>
              <a:ext uri="{FF2B5EF4-FFF2-40B4-BE49-F238E27FC236}">
                <a16:creationId xmlns="" xmlns:a16="http://schemas.microsoft.com/office/drawing/2014/main" id="{76A743D7-6CDE-4BE4-9B7F-D263387CEEF4}"/>
              </a:ext>
            </a:extLst>
          </p:cNvPr>
          <p:cNvGrpSpPr/>
          <p:nvPr/>
        </p:nvGrpSpPr>
        <p:grpSpPr>
          <a:xfrm>
            <a:off x="9644233" y="5026321"/>
            <a:ext cx="1289036" cy="776773"/>
            <a:chOff x="466497" y="1223433"/>
            <a:chExt cx="1103205" cy="624097"/>
          </a:xfrm>
        </p:grpSpPr>
        <p:sp>
          <p:nvSpPr>
            <p:cNvPr id="294" name="Freeform: Shape 293">
              <a:extLst>
                <a:ext uri="{FF2B5EF4-FFF2-40B4-BE49-F238E27FC236}">
                  <a16:creationId xmlns="" xmlns:a16="http://schemas.microsoft.com/office/drawing/2014/main" id="{BAB18D4B-AEA5-4E0F-8F42-A36FEE70C648}"/>
                </a:ext>
              </a:extLst>
            </p:cNvPr>
            <p:cNvSpPr/>
            <p:nvPr/>
          </p:nvSpPr>
          <p:spPr>
            <a:xfrm>
              <a:off x="491040" y="1238173"/>
              <a:ext cx="1063915" cy="591676"/>
            </a:xfrm>
            <a:custGeom>
              <a:avLst/>
              <a:gdLst>
                <a:gd name="connsiteX0" fmla="*/ 339355 w 781104"/>
                <a:gd name="connsiteY0" fmla="*/ 0 h 434396"/>
                <a:gd name="connsiteX1" fmla="*/ 492937 w 781104"/>
                <a:gd name="connsiteY1" fmla="*/ 63616 h 434396"/>
                <a:gd name="connsiteX2" fmla="*/ 515198 w 781104"/>
                <a:gd name="connsiteY2" fmla="*/ 96633 h 434396"/>
                <a:gd name="connsiteX3" fmla="*/ 539885 w 781104"/>
                <a:gd name="connsiteY3" fmla="*/ 91649 h 434396"/>
                <a:gd name="connsiteX4" fmla="*/ 692867 w 781104"/>
                <a:gd name="connsiteY4" fmla="*/ 193052 h 434396"/>
                <a:gd name="connsiteX5" fmla="*/ 693561 w 781104"/>
                <a:gd name="connsiteY5" fmla="*/ 196491 h 434396"/>
                <a:gd name="connsiteX6" fmla="*/ 719636 w 781104"/>
                <a:gd name="connsiteY6" fmla="*/ 201755 h 434396"/>
                <a:gd name="connsiteX7" fmla="*/ 781104 w 781104"/>
                <a:gd name="connsiteY7" fmla="*/ 294489 h 434396"/>
                <a:gd name="connsiteX8" fmla="*/ 680461 w 781104"/>
                <a:gd name="connsiteY8" fmla="*/ 395132 h 434396"/>
                <a:gd name="connsiteX9" fmla="*/ 641286 w 781104"/>
                <a:gd name="connsiteY9" fmla="*/ 387223 h 434396"/>
                <a:gd name="connsiteX10" fmla="*/ 640279 w 781104"/>
                <a:gd name="connsiteY10" fmla="*/ 386544 h 434396"/>
                <a:gd name="connsiteX11" fmla="*/ 604511 w 781104"/>
                <a:gd name="connsiteY11" fmla="*/ 410660 h 434396"/>
                <a:gd name="connsiteX12" fmla="*/ 539885 w 781104"/>
                <a:gd name="connsiteY12" fmla="*/ 423707 h 434396"/>
                <a:gd name="connsiteX13" fmla="*/ 475259 w 781104"/>
                <a:gd name="connsiteY13" fmla="*/ 410660 h 434396"/>
                <a:gd name="connsiteX14" fmla="*/ 454523 w 781104"/>
                <a:gd name="connsiteY14" fmla="*/ 396679 h 434396"/>
                <a:gd name="connsiteX15" fmla="*/ 423898 w 781104"/>
                <a:gd name="connsiteY15" fmla="*/ 417328 h 434396"/>
                <a:gd name="connsiteX16" fmla="*/ 339355 w 781104"/>
                <a:gd name="connsiteY16" fmla="*/ 434396 h 434396"/>
                <a:gd name="connsiteX17" fmla="*/ 254812 w 781104"/>
                <a:gd name="connsiteY17" fmla="*/ 417328 h 434396"/>
                <a:gd name="connsiteX18" fmla="*/ 198414 w 781104"/>
                <a:gd name="connsiteY18" fmla="*/ 379303 h 434396"/>
                <a:gd name="connsiteX19" fmla="*/ 190957 w 781104"/>
                <a:gd name="connsiteY19" fmla="*/ 384330 h 434396"/>
                <a:gd name="connsiteX20" fmla="*/ 137454 w 781104"/>
                <a:gd name="connsiteY20" fmla="*/ 395132 h 434396"/>
                <a:gd name="connsiteX21" fmla="*/ 0 w 781104"/>
                <a:gd name="connsiteY21" fmla="*/ 257678 h 434396"/>
                <a:gd name="connsiteX22" fmla="*/ 137454 w 781104"/>
                <a:gd name="connsiteY22" fmla="*/ 120224 h 434396"/>
                <a:gd name="connsiteX23" fmla="*/ 146390 w 781104"/>
                <a:gd name="connsiteY23" fmla="*/ 122028 h 434396"/>
                <a:gd name="connsiteX24" fmla="*/ 185773 w 781104"/>
                <a:gd name="connsiteY24" fmla="*/ 63616 h 434396"/>
                <a:gd name="connsiteX25" fmla="*/ 339355 w 781104"/>
                <a:gd name="connsiteY25" fmla="*/ 0 h 43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81104" h="434396">
                  <a:moveTo>
                    <a:pt x="339355" y="0"/>
                  </a:moveTo>
                  <a:cubicBezTo>
                    <a:pt x="399332" y="0"/>
                    <a:pt x="453632" y="24311"/>
                    <a:pt x="492937" y="63616"/>
                  </a:cubicBezTo>
                  <a:lnTo>
                    <a:pt x="515198" y="96633"/>
                  </a:lnTo>
                  <a:lnTo>
                    <a:pt x="539885" y="91649"/>
                  </a:lnTo>
                  <a:cubicBezTo>
                    <a:pt x="608657" y="91649"/>
                    <a:pt x="667662" y="133462"/>
                    <a:pt x="692867" y="193052"/>
                  </a:cubicBezTo>
                  <a:lnTo>
                    <a:pt x="693561" y="196491"/>
                  </a:lnTo>
                  <a:lnTo>
                    <a:pt x="719636" y="201755"/>
                  </a:lnTo>
                  <a:cubicBezTo>
                    <a:pt x="755759" y="217033"/>
                    <a:pt x="781104" y="252801"/>
                    <a:pt x="781104" y="294489"/>
                  </a:cubicBezTo>
                  <a:cubicBezTo>
                    <a:pt x="781104" y="350073"/>
                    <a:pt x="736045" y="395132"/>
                    <a:pt x="680461" y="395132"/>
                  </a:cubicBezTo>
                  <a:cubicBezTo>
                    <a:pt x="666565" y="395132"/>
                    <a:pt x="653327" y="392316"/>
                    <a:pt x="641286" y="387223"/>
                  </a:cubicBezTo>
                  <a:lnTo>
                    <a:pt x="640279" y="386544"/>
                  </a:lnTo>
                  <a:lnTo>
                    <a:pt x="604511" y="410660"/>
                  </a:lnTo>
                  <a:cubicBezTo>
                    <a:pt x="584648" y="419061"/>
                    <a:pt x="562809" y="423707"/>
                    <a:pt x="539885" y="423707"/>
                  </a:cubicBezTo>
                  <a:cubicBezTo>
                    <a:pt x="516961" y="423707"/>
                    <a:pt x="495122" y="419061"/>
                    <a:pt x="475259" y="410660"/>
                  </a:cubicBezTo>
                  <a:lnTo>
                    <a:pt x="454523" y="396679"/>
                  </a:lnTo>
                  <a:lnTo>
                    <a:pt x="423898" y="417328"/>
                  </a:lnTo>
                  <a:cubicBezTo>
                    <a:pt x="397913" y="428318"/>
                    <a:pt x="369344" y="434396"/>
                    <a:pt x="339355" y="434396"/>
                  </a:cubicBezTo>
                  <a:cubicBezTo>
                    <a:pt x="309366" y="434396"/>
                    <a:pt x="280797" y="428318"/>
                    <a:pt x="254812" y="417328"/>
                  </a:cubicBezTo>
                  <a:lnTo>
                    <a:pt x="198414" y="379303"/>
                  </a:lnTo>
                  <a:lnTo>
                    <a:pt x="190957" y="384330"/>
                  </a:lnTo>
                  <a:cubicBezTo>
                    <a:pt x="174512" y="391286"/>
                    <a:pt x="156432" y="395132"/>
                    <a:pt x="137454" y="395132"/>
                  </a:cubicBezTo>
                  <a:cubicBezTo>
                    <a:pt x="61540" y="395132"/>
                    <a:pt x="0" y="333592"/>
                    <a:pt x="0" y="257678"/>
                  </a:cubicBezTo>
                  <a:cubicBezTo>
                    <a:pt x="0" y="181764"/>
                    <a:pt x="61540" y="120224"/>
                    <a:pt x="137454" y="120224"/>
                  </a:cubicBezTo>
                  <a:lnTo>
                    <a:pt x="146390" y="122028"/>
                  </a:lnTo>
                  <a:lnTo>
                    <a:pt x="185773" y="63616"/>
                  </a:lnTo>
                  <a:cubicBezTo>
                    <a:pt x="225078" y="24311"/>
                    <a:pt x="279377" y="0"/>
                    <a:pt x="33935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en-US" sz="24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95" name="Picture 294">
              <a:extLst>
                <a:ext uri="{FF2B5EF4-FFF2-40B4-BE49-F238E27FC236}">
                  <a16:creationId xmlns="" xmlns:a16="http://schemas.microsoft.com/office/drawing/2014/main" id="{AA6A8F57-A5DB-45E8-BC07-19CB56890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6497" y="1223433"/>
              <a:ext cx="1103205" cy="624097"/>
            </a:xfrm>
            <a:prstGeom prst="rect">
              <a:avLst/>
            </a:prstGeom>
          </p:spPr>
        </p:pic>
      </p:grpSp>
      <p:cxnSp>
        <p:nvCxnSpPr>
          <p:cNvPr id="296" name="Straight Arrow Connector 295">
            <a:extLst>
              <a:ext uri="{FF2B5EF4-FFF2-40B4-BE49-F238E27FC236}">
                <a16:creationId xmlns="" xmlns:a16="http://schemas.microsoft.com/office/drawing/2014/main" id="{D5782134-6E67-4341-9E86-1CBC7F38AF7F}"/>
              </a:ext>
            </a:extLst>
          </p:cNvPr>
          <p:cNvCxnSpPr>
            <a:cxnSpLocks/>
          </p:cNvCxnSpPr>
          <p:nvPr/>
        </p:nvCxnSpPr>
        <p:spPr>
          <a:xfrm flipV="1">
            <a:off x="1337906" y="4135624"/>
            <a:ext cx="0" cy="1085917"/>
          </a:xfrm>
          <a:prstGeom prst="straightConnector1">
            <a:avLst/>
          </a:prstGeom>
          <a:ln w="19050" cap="rnd">
            <a:solidFill>
              <a:schemeClr val="tx1"/>
            </a:solidFill>
            <a:prstDash val="sys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Arrow Connector 296">
            <a:extLst>
              <a:ext uri="{FF2B5EF4-FFF2-40B4-BE49-F238E27FC236}">
                <a16:creationId xmlns="" xmlns:a16="http://schemas.microsoft.com/office/drawing/2014/main" id="{9BE30164-BA7A-4A4C-8037-46A8E289A1A3}"/>
              </a:ext>
            </a:extLst>
          </p:cNvPr>
          <p:cNvCxnSpPr>
            <a:cxnSpLocks/>
            <a:stCxn id="276" idx="0"/>
          </p:cNvCxnSpPr>
          <p:nvPr/>
        </p:nvCxnSpPr>
        <p:spPr>
          <a:xfrm flipV="1">
            <a:off x="2192054" y="4126190"/>
            <a:ext cx="0" cy="1185572"/>
          </a:xfrm>
          <a:prstGeom prst="straightConnector1">
            <a:avLst/>
          </a:prstGeom>
          <a:ln w="19050" cap="rnd">
            <a:solidFill>
              <a:schemeClr val="tx1"/>
            </a:solidFill>
            <a:prstDash val="sys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Arrow Connector 297">
            <a:extLst>
              <a:ext uri="{FF2B5EF4-FFF2-40B4-BE49-F238E27FC236}">
                <a16:creationId xmlns="" xmlns:a16="http://schemas.microsoft.com/office/drawing/2014/main" id="{1FA51EED-A481-439E-8B53-BEC073F04E39}"/>
              </a:ext>
            </a:extLst>
          </p:cNvPr>
          <p:cNvCxnSpPr>
            <a:cxnSpLocks/>
            <a:stCxn id="281" idx="0"/>
          </p:cNvCxnSpPr>
          <p:nvPr/>
        </p:nvCxnSpPr>
        <p:spPr>
          <a:xfrm flipV="1">
            <a:off x="4702167" y="4595623"/>
            <a:ext cx="0" cy="510798"/>
          </a:xfrm>
          <a:prstGeom prst="straightConnector1">
            <a:avLst/>
          </a:prstGeom>
          <a:ln w="19050" cap="rnd">
            <a:solidFill>
              <a:schemeClr val="tx1"/>
            </a:solidFill>
            <a:prstDash val="sys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410" name="Picture 2" descr="img1.sdnlab.com/wp-content/uploads/2019/08VMwar...">
            <a:extLst>
              <a:ext uri="{FF2B5EF4-FFF2-40B4-BE49-F238E27FC236}">
                <a16:creationId xmlns="" xmlns:a16="http://schemas.microsoft.com/office/drawing/2014/main" id="{1E607A69-E441-494A-85D8-E8D026251E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3" t="16103" r="23870" b="24855"/>
          <a:stretch/>
        </p:blipFill>
        <p:spPr bwMode="auto">
          <a:xfrm>
            <a:off x="9952202" y="5201232"/>
            <a:ext cx="557048" cy="426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684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8462EB56-7AE4-4865-ADB5-24886FA938AD}"/>
              </a:ext>
            </a:extLst>
          </p:cNvPr>
          <p:cNvSpPr/>
          <p:nvPr/>
        </p:nvSpPr>
        <p:spPr>
          <a:xfrm>
            <a:off x="0" y="3176972"/>
            <a:ext cx="12191994" cy="28991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Content Placeholder 10">
            <a:extLst>
              <a:ext uri="{FF2B5EF4-FFF2-40B4-BE49-F238E27FC236}">
                <a16:creationId xmlns="" xmlns:a16="http://schemas.microsoft.com/office/drawing/2014/main" id="{8445FF7B-224E-48CF-96E4-25D4369767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17" t="1" r="3062" b="433"/>
          <a:stretch/>
        </p:blipFill>
        <p:spPr>
          <a:xfrm>
            <a:off x="554561" y="1916113"/>
            <a:ext cx="7804375" cy="41600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575BF0A2-E2D5-4D1C-8610-D73EA06F0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Full-screen Monitoring Dashboards</a:t>
            </a:r>
            <a:endParaRPr lang="en-US" dirty="0"/>
          </a:p>
        </p:txBody>
      </p:sp>
      <p:sp>
        <p:nvSpPr>
          <p:cNvPr id="7" name="TextBox 23">
            <a:extLst>
              <a:ext uri="{FF2B5EF4-FFF2-40B4-BE49-F238E27FC236}">
                <a16:creationId xmlns="" xmlns:a16="http://schemas.microsoft.com/office/drawing/2014/main" id="{08F282C9-B8E9-4883-95FF-75F5018EB3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80276" y="3672693"/>
            <a:ext cx="3024274" cy="209005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x-none" sz="1600" dirty="0">
                <a:latin typeface="Arial" panose="020B0604020202020204" pitchFamily="34" charset="0"/>
                <a:cs typeface="Arial" panose="020B0604020202020204" pitchFamily="34" charset="0"/>
              </a:rPr>
              <a:t>Multiple </a:t>
            </a:r>
            <a:r>
              <a:rPr lang="x-none" sz="1600">
                <a:latin typeface="Arial" panose="020B0604020202020204" pitchFamily="34" charset="0"/>
                <a:cs typeface="Arial" panose="020B0604020202020204" pitchFamily="34" charset="0"/>
              </a:rPr>
              <a:t>Full-screen Dashboard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altLang="zh-CN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x-none" sz="1600" dirty="0">
                <a:latin typeface="Arial" panose="020B0604020202020204" pitchFamily="34" charset="0"/>
                <a:cs typeface="Arial" panose="020B0604020202020204" pitchFamily="34" charset="0"/>
              </a:rPr>
              <a:t>Rich Data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x-none" sz="1600" dirty="0">
                <a:latin typeface="Arial" panose="020B0604020202020204" pitchFamily="34" charset="0"/>
                <a:cs typeface="Arial" panose="020B0604020202020204" pitchFamily="34" charset="0"/>
              </a:rPr>
              <a:t>Custom Dashboard Title 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x-none" sz="1600" dirty="0">
                <a:latin typeface="Arial" panose="020B0604020202020204" pitchFamily="34" charset="0"/>
                <a:cs typeface="Arial" panose="020B0604020202020204" pitchFamily="34" charset="0"/>
              </a:rPr>
              <a:t>Auto Rotation</a:t>
            </a: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altLang="zh-CN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矩形: 圆角 54">
            <a:extLst>
              <a:ext uri="{FF2B5EF4-FFF2-40B4-BE49-F238E27FC236}">
                <a16:creationId xmlns="" xmlns:a16="http://schemas.microsoft.com/office/drawing/2014/main" id="{49FC269B-1BCD-4F35-AF67-01E8D85D54A3}"/>
              </a:ext>
            </a:extLst>
          </p:cNvPr>
          <p:cNvSpPr/>
          <p:nvPr/>
        </p:nvSpPr>
        <p:spPr>
          <a:xfrm>
            <a:off x="8358936" y="2991007"/>
            <a:ext cx="3245690" cy="437993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x-none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Overview Dashboard</a:t>
            </a:r>
          </a:p>
        </p:txBody>
      </p:sp>
    </p:spTree>
    <p:extLst>
      <p:ext uri="{BB962C8B-B14F-4D97-AF65-F5344CB8AC3E}">
        <p14:creationId xmlns:p14="http://schemas.microsoft.com/office/powerpoint/2010/main" val="29201901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="" xmlns:a16="http://schemas.microsoft.com/office/drawing/2014/main" id="{777124E4-1DD8-D746-B8A0-B36E36CC544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x-none" dirty="0"/>
              <a:t>Full-screen Monitoring Dashboards</a:t>
            </a:r>
          </a:p>
        </p:txBody>
      </p:sp>
      <p:sp>
        <p:nvSpPr>
          <p:cNvPr id="2" name="表格占位符 1"/>
          <p:cNvSpPr>
            <a:spLocks noGrp="1"/>
          </p:cNvSpPr>
          <p:nvPr>
            <p:ph type="tbl" sz="quarter" idx="10"/>
          </p:nvPr>
        </p:nvSpPr>
        <p:spPr/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9A4A902D-22D6-F646-92EF-7CCFD89D1D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63" t="1906" r="1049" b="6879"/>
          <a:stretch/>
        </p:blipFill>
        <p:spPr>
          <a:xfrm>
            <a:off x="0" y="1135277"/>
            <a:ext cx="12180831" cy="572272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FAA51F77-C716-3D4B-B8A4-EF6B6101AF6E}"/>
              </a:ext>
            </a:extLst>
          </p:cNvPr>
          <p:cNvGrpSpPr/>
          <p:nvPr/>
        </p:nvGrpSpPr>
        <p:grpSpPr>
          <a:xfrm>
            <a:off x="222421" y="1135277"/>
            <a:ext cx="3085858" cy="498314"/>
            <a:chOff x="459440" y="1124465"/>
            <a:chExt cx="3085858" cy="498314"/>
          </a:xfrm>
        </p:grpSpPr>
        <p:sp>
          <p:nvSpPr>
            <p:cNvPr id="11" name="Round Same Side Corner Rectangle 10">
              <a:extLst>
                <a:ext uri="{FF2B5EF4-FFF2-40B4-BE49-F238E27FC236}">
                  <a16:creationId xmlns="" xmlns:a16="http://schemas.microsoft.com/office/drawing/2014/main" id="{580391D9-2094-264E-8FC1-301406289402}"/>
                </a:ext>
              </a:extLst>
            </p:cNvPr>
            <p:cNvSpPr/>
            <p:nvPr/>
          </p:nvSpPr>
          <p:spPr>
            <a:xfrm rot="10800000">
              <a:off x="459440" y="1124465"/>
              <a:ext cx="3085858" cy="498314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9CA887F5-58D8-3A41-9EF1-8B05E0BB2847}"/>
                </a:ext>
              </a:extLst>
            </p:cNvPr>
            <p:cNvSpPr txBox="1"/>
            <p:nvPr/>
          </p:nvSpPr>
          <p:spPr>
            <a:xfrm>
              <a:off x="459441" y="1188956"/>
              <a:ext cx="308585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x-none" b="1" dirty="0">
                  <a:solidFill>
                    <a:srgbClr val="FFC000"/>
                  </a:solidFill>
                </a:rPr>
                <a:t>External Attacks Monit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4428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BAD875E5-DFB7-7D43-952C-90B28B27C9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35276"/>
            <a:ext cx="12192000" cy="5722723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="" xmlns:a16="http://schemas.microsoft.com/office/drawing/2014/main" id="{777124E4-1DD8-D746-B8A0-B36E36CC544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x-none" dirty="0"/>
              <a:t>Full-screen Monitoring Dashboard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FAA51F77-C716-3D4B-B8A4-EF6B6101AF6E}"/>
              </a:ext>
            </a:extLst>
          </p:cNvPr>
          <p:cNvGrpSpPr/>
          <p:nvPr/>
        </p:nvGrpSpPr>
        <p:grpSpPr>
          <a:xfrm>
            <a:off x="222421" y="1135277"/>
            <a:ext cx="3085858" cy="498314"/>
            <a:chOff x="459440" y="1124465"/>
            <a:chExt cx="3085858" cy="498314"/>
          </a:xfrm>
        </p:grpSpPr>
        <p:sp>
          <p:nvSpPr>
            <p:cNvPr id="11" name="Round Same Side Corner Rectangle 10">
              <a:extLst>
                <a:ext uri="{FF2B5EF4-FFF2-40B4-BE49-F238E27FC236}">
                  <a16:creationId xmlns="" xmlns:a16="http://schemas.microsoft.com/office/drawing/2014/main" id="{580391D9-2094-264E-8FC1-301406289402}"/>
                </a:ext>
              </a:extLst>
            </p:cNvPr>
            <p:cNvSpPr/>
            <p:nvPr/>
          </p:nvSpPr>
          <p:spPr>
            <a:xfrm rot="10800000">
              <a:off x="459440" y="1124465"/>
              <a:ext cx="3085858" cy="498314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9CA887F5-58D8-3A41-9EF1-8B05E0BB2847}"/>
                </a:ext>
              </a:extLst>
            </p:cNvPr>
            <p:cNvSpPr txBox="1"/>
            <p:nvPr/>
          </p:nvSpPr>
          <p:spPr>
            <a:xfrm>
              <a:off x="459441" y="1188956"/>
              <a:ext cx="308585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x-none" b="1" dirty="0">
                  <a:solidFill>
                    <a:srgbClr val="FFC000"/>
                  </a:solidFill>
                </a:rPr>
                <a:t>Server Monit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460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716FF672-256F-9348-81A3-90780BB65D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14729"/>
            <a:ext cx="12192000" cy="584282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="" xmlns:a16="http://schemas.microsoft.com/office/drawing/2014/main" id="{777124E4-1DD8-D746-B8A0-B36E36CC544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x-none" dirty="0"/>
              <a:t>Full-screen Monitoring Dashboard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FAA51F77-C716-3D4B-B8A4-EF6B6101AF6E}"/>
              </a:ext>
            </a:extLst>
          </p:cNvPr>
          <p:cNvGrpSpPr/>
          <p:nvPr/>
        </p:nvGrpSpPr>
        <p:grpSpPr>
          <a:xfrm>
            <a:off x="222421" y="1114729"/>
            <a:ext cx="3085858" cy="498314"/>
            <a:chOff x="459440" y="1124465"/>
            <a:chExt cx="3085858" cy="498314"/>
          </a:xfrm>
        </p:grpSpPr>
        <p:sp>
          <p:nvSpPr>
            <p:cNvPr id="11" name="Round Same Side Corner Rectangle 10">
              <a:extLst>
                <a:ext uri="{FF2B5EF4-FFF2-40B4-BE49-F238E27FC236}">
                  <a16:creationId xmlns="" xmlns:a16="http://schemas.microsoft.com/office/drawing/2014/main" id="{580391D9-2094-264E-8FC1-301406289402}"/>
                </a:ext>
              </a:extLst>
            </p:cNvPr>
            <p:cNvSpPr/>
            <p:nvPr/>
          </p:nvSpPr>
          <p:spPr>
            <a:xfrm rot="10800000">
              <a:off x="459440" y="1124465"/>
              <a:ext cx="3085858" cy="498314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9CA887F5-58D8-3A41-9EF1-8B05E0BB2847}"/>
                </a:ext>
              </a:extLst>
            </p:cNvPr>
            <p:cNvSpPr txBox="1"/>
            <p:nvPr/>
          </p:nvSpPr>
          <p:spPr>
            <a:xfrm>
              <a:off x="459441" y="1188956"/>
              <a:ext cx="308585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x-none" b="1" dirty="0">
                  <a:solidFill>
                    <a:srgbClr val="FFC000"/>
                  </a:solidFill>
                </a:rPr>
                <a:t>Endpoints Monit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0648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63F67B50-AB0E-2E4E-87FD-CD72908599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13403"/>
            <a:ext cx="12192000" cy="5744597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="" xmlns:a16="http://schemas.microsoft.com/office/drawing/2014/main" id="{777124E4-1DD8-D746-B8A0-B36E36CC544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x-none" dirty="0"/>
              <a:t>Full-screen Monitoring Dashboard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FAA51F77-C716-3D4B-B8A4-EF6B6101AF6E}"/>
              </a:ext>
            </a:extLst>
          </p:cNvPr>
          <p:cNvGrpSpPr/>
          <p:nvPr/>
        </p:nvGrpSpPr>
        <p:grpSpPr>
          <a:xfrm>
            <a:off x="222421" y="1114729"/>
            <a:ext cx="3085858" cy="498314"/>
            <a:chOff x="459440" y="1124465"/>
            <a:chExt cx="3085858" cy="498314"/>
          </a:xfrm>
        </p:grpSpPr>
        <p:sp>
          <p:nvSpPr>
            <p:cNvPr id="11" name="Round Same Side Corner Rectangle 10">
              <a:extLst>
                <a:ext uri="{FF2B5EF4-FFF2-40B4-BE49-F238E27FC236}">
                  <a16:creationId xmlns="" xmlns:a16="http://schemas.microsoft.com/office/drawing/2014/main" id="{580391D9-2094-264E-8FC1-301406289402}"/>
                </a:ext>
              </a:extLst>
            </p:cNvPr>
            <p:cNvSpPr/>
            <p:nvPr/>
          </p:nvSpPr>
          <p:spPr>
            <a:xfrm rot="10800000">
              <a:off x="459440" y="1124465"/>
              <a:ext cx="3085858" cy="498314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9CA887F5-58D8-3A41-9EF1-8B05E0BB2847}"/>
                </a:ext>
              </a:extLst>
            </p:cNvPr>
            <p:cNvSpPr txBox="1"/>
            <p:nvPr/>
          </p:nvSpPr>
          <p:spPr>
            <a:xfrm>
              <a:off x="459441" y="1188956"/>
              <a:ext cx="308585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x-none" b="1" dirty="0">
                  <a:solidFill>
                    <a:srgbClr val="FFC000"/>
                  </a:solidFill>
                </a:rPr>
                <a:t>Threat Events Monit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150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5B9E3A14-963F-9046-A014-1E424A28B5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98" y="1135277"/>
            <a:ext cx="12178301" cy="5722723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="" xmlns:a16="http://schemas.microsoft.com/office/drawing/2014/main" id="{777124E4-1DD8-D746-B8A0-B36E36CC544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x-none" dirty="0"/>
              <a:t>Full-screen Monitoring Dashboard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FAA51F77-C716-3D4B-B8A4-EF6B6101AF6E}"/>
              </a:ext>
            </a:extLst>
          </p:cNvPr>
          <p:cNvGrpSpPr/>
          <p:nvPr/>
        </p:nvGrpSpPr>
        <p:grpSpPr>
          <a:xfrm>
            <a:off x="222421" y="1135277"/>
            <a:ext cx="3085858" cy="498314"/>
            <a:chOff x="459440" y="1124465"/>
            <a:chExt cx="3085858" cy="498314"/>
          </a:xfrm>
        </p:grpSpPr>
        <p:sp>
          <p:nvSpPr>
            <p:cNvPr id="11" name="Round Same Side Corner Rectangle 10">
              <a:extLst>
                <a:ext uri="{FF2B5EF4-FFF2-40B4-BE49-F238E27FC236}">
                  <a16:creationId xmlns="" xmlns:a16="http://schemas.microsoft.com/office/drawing/2014/main" id="{580391D9-2094-264E-8FC1-301406289402}"/>
                </a:ext>
              </a:extLst>
            </p:cNvPr>
            <p:cNvSpPr/>
            <p:nvPr/>
          </p:nvSpPr>
          <p:spPr>
            <a:xfrm rot="10800000">
              <a:off x="459440" y="1124465"/>
              <a:ext cx="3085858" cy="498314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9CA887F5-58D8-3A41-9EF1-8B05E0BB2847}"/>
                </a:ext>
              </a:extLst>
            </p:cNvPr>
            <p:cNvSpPr txBox="1"/>
            <p:nvPr/>
          </p:nvSpPr>
          <p:spPr>
            <a:xfrm>
              <a:off x="459441" y="1188956"/>
              <a:ext cx="308585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x-none" b="1" dirty="0">
                  <a:solidFill>
                    <a:srgbClr val="FFC000"/>
                  </a:solidFill>
                </a:rPr>
                <a:t>Vulnerability Monit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130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36FB0F2B-380E-7C48-A84A-73B0927F04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14728"/>
            <a:ext cx="12192000" cy="5743271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="" xmlns:a16="http://schemas.microsoft.com/office/drawing/2014/main" id="{777124E4-1DD8-D746-B8A0-B36E36CC544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x-none" dirty="0"/>
              <a:t>Full-screen Monitoring Dashboard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FAA51F77-C716-3D4B-B8A4-EF6B6101AF6E}"/>
              </a:ext>
            </a:extLst>
          </p:cNvPr>
          <p:cNvGrpSpPr/>
          <p:nvPr/>
        </p:nvGrpSpPr>
        <p:grpSpPr>
          <a:xfrm>
            <a:off x="222421" y="1114729"/>
            <a:ext cx="3085858" cy="498314"/>
            <a:chOff x="459440" y="1124465"/>
            <a:chExt cx="3085858" cy="498314"/>
          </a:xfrm>
        </p:grpSpPr>
        <p:sp>
          <p:nvSpPr>
            <p:cNvPr id="11" name="Round Same Side Corner Rectangle 10">
              <a:extLst>
                <a:ext uri="{FF2B5EF4-FFF2-40B4-BE49-F238E27FC236}">
                  <a16:creationId xmlns="" xmlns:a16="http://schemas.microsoft.com/office/drawing/2014/main" id="{580391D9-2094-264E-8FC1-301406289402}"/>
                </a:ext>
              </a:extLst>
            </p:cNvPr>
            <p:cNvSpPr/>
            <p:nvPr/>
          </p:nvSpPr>
          <p:spPr>
            <a:xfrm rot="10800000">
              <a:off x="459440" y="1124465"/>
              <a:ext cx="3085858" cy="498314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9CA887F5-58D8-3A41-9EF1-8B05E0BB2847}"/>
                </a:ext>
              </a:extLst>
            </p:cNvPr>
            <p:cNvSpPr txBox="1"/>
            <p:nvPr/>
          </p:nvSpPr>
          <p:spPr>
            <a:xfrm>
              <a:off x="459441" y="1188956"/>
              <a:ext cx="308585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x-none" b="1" dirty="0">
                  <a:solidFill>
                    <a:srgbClr val="FFC000"/>
                  </a:solidFill>
                </a:rPr>
                <a:t>Area Monit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901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Hierarchical Management</a:t>
            </a:r>
            <a:endParaRPr lang="zh-CN" altLang="en-US" dirty="0"/>
          </a:p>
        </p:txBody>
      </p:sp>
      <p:grpSp>
        <p:nvGrpSpPr>
          <p:cNvPr id="116" name="组合 115"/>
          <p:cNvGrpSpPr/>
          <p:nvPr/>
        </p:nvGrpSpPr>
        <p:grpSpPr>
          <a:xfrm>
            <a:off x="545261" y="2011490"/>
            <a:ext cx="6715516" cy="4039209"/>
            <a:chOff x="4324780" y="1556792"/>
            <a:chExt cx="7428436" cy="4468007"/>
          </a:xfrm>
        </p:grpSpPr>
        <p:grpSp>
          <p:nvGrpSpPr>
            <p:cNvPr id="6" name="组合 5"/>
            <p:cNvGrpSpPr/>
            <p:nvPr/>
          </p:nvGrpSpPr>
          <p:grpSpPr>
            <a:xfrm>
              <a:off x="4324780" y="5735239"/>
              <a:ext cx="7423785" cy="289560"/>
              <a:chOff x="2583" y="9889"/>
              <a:chExt cx="11691" cy="456"/>
            </a:xfrm>
          </p:grpSpPr>
          <p:grpSp>
            <p:nvGrpSpPr>
              <p:cNvPr id="86" name="组合 85"/>
              <p:cNvGrpSpPr/>
              <p:nvPr/>
            </p:nvGrpSpPr>
            <p:grpSpPr>
              <a:xfrm>
                <a:off x="2583" y="9911"/>
                <a:ext cx="2234" cy="429"/>
                <a:chOff x="5011" y="11496"/>
                <a:chExt cx="2234" cy="429"/>
              </a:xfrm>
            </p:grpSpPr>
            <p:cxnSp>
              <p:nvCxnSpPr>
                <p:cNvPr id="93" name="直接箭头连接符 92"/>
                <p:cNvCxnSpPr/>
                <p:nvPr/>
              </p:nvCxnSpPr>
              <p:spPr>
                <a:xfrm>
                  <a:off x="5375" y="11511"/>
                  <a:ext cx="1505" cy="0"/>
                </a:xfrm>
                <a:prstGeom prst="straightConnector1">
                  <a:avLst/>
                </a:prstGeom>
                <a:noFill/>
                <a:ln w="12700" cap="flat">
                  <a:solidFill>
                    <a:srgbClr val="00B0F0"/>
                  </a:solidFill>
                  <a:prstDash val="dash"/>
                  <a:miter lim="800000"/>
                  <a:headEnd type="triangle"/>
                  <a:tailEnd type="triangle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sp>
              <p:nvSpPr>
                <p:cNvPr id="94" name="文本框 93"/>
                <p:cNvSpPr txBox="1"/>
                <p:nvPr/>
              </p:nvSpPr>
              <p:spPr>
                <a:xfrm>
                  <a:off x="5011" y="11496"/>
                  <a:ext cx="2234" cy="42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altLang="zh-CN" sz="10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Intelligence sharing</a:t>
                  </a:r>
                </a:p>
              </p:txBody>
            </p:sp>
          </p:grpSp>
          <p:grpSp>
            <p:nvGrpSpPr>
              <p:cNvPr id="87" name="组合 86"/>
              <p:cNvGrpSpPr/>
              <p:nvPr/>
            </p:nvGrpSpPr>
            <p:grpSpPr>
              <a:xfrm>
                <a:off x="6493" y="9903"/>
                <a:ext cx="3410" cy="429"/>
                <a:chOff x="11233" y="10798"/>
                <a:chExt cx="3410" cy="429"/>
              </a:xfrm>
            </p:grpSpPr>
            <p:cxnSp>
              <p:nvCxnSpPr>
                <p:cNvPr id="91" name="直接箭头连接符 90"/>
                <p:cNvCxnSpPr/>
                <p:nvPr/>
              </p:nvCxnSpPr>
              <p:spPr>
                <a:xfrm>
                  <a:off x="12288" y="10821"/>
                  <a:ext cx="1516" cy="0"/>
                </a:xfrm>
                <a:prstGeom prst="straightConnector1">
                  <a:avLst/>
                </a:prstGeom>
                <a:noFill/>
                <a:ln w="12700" cap="flat">
                  <a:solidFill>
                    <a:srgbClr val="C00000"/>
                  </a:solidFill>
                  <a:prstDash val="dash"/>
                  <a:miter lim="800000"/>
                  <a:tailEnd type="triangle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sp>
              <p:nvSpPr>
                <p:cNvPr id="92" name="文本框 91"/>
                <p:cNvSpPr txBox="1"/>
                <p:nvPr/>
              </p:nvSpPr>
              <p:spPr>
                <a:xfrm>
                  <a:off x="11233" y="10798"/>
                  <a:ext cx="3410" cy="42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altLang="zh-CN" sz="1000" dirty="0">
                      <a:latin typeface="Arial" panose="020B0604020202020204" pitchFamily="34" charset="0"/>
                      <a:cs typeface="Arial" panose="020B0604020202020204" pitchFamily="34" charset="0"/>
                      <a:sym typeface="+mn-ea"/>
                    </a:rPr>
                    <a:t>Alert </a:t>
                  </a:r>
                  <a:r>
                    <a:rPr lang="en-US" altLang="zh-CN" sz="10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notification/policy disposal</a:t>
                  </a:r>
                </a:p>
              </p:txBody>
            </p:sp>
          </p:grpSp>
          <p:grpSp>
            <p:nvGrpSpPr>
              <p:cNvPr id="88" name="组合 87"/>
              <p:cNvGrpSpPr/>
              <p:nvPr/>
            </p:nvGrpSpPr>
            <p:grpSpPr>
              <a:xfrm>
                <a:off x="10925" y="9889"/>
                <a:ext cx="3349" cy="456"/>
                <a:chOff x="14153" y="9772"/>
                <a:chExt cx="3349" cy="456"/>
              </a:xfrm>
            </p:grpSpPr>
            <p:cxnSp>
              <p:nvCxnSpPr>
                <p:cNvPr id="89" name="直接箭头连接符 88"/>
                <p:cNvCxnSpPr/>
                <p:nvPr/>
              </p:nvCxnSpPr>
              <p:spPr>
                <a:xfrm>
                  <a:off x="14956" y="9772"/>
                  <a:ext cx="1511" cy="14"/>
                </a:xfrm>
                <a:prstGeom prst="straightConnector1">
                  <a:avLst/>
                </a:prstGeom>
                <a:noFill/>
                <a:ln w="12700" cap="flat">
                  <a:solidFill>
                    <a:srgbClr val="00B050"/>
                  </a:solidFill>
                  <a:prstDash val="dash"/>
                  <a:miter lim="800000"/>
                  <a:tailEnd type="triangle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sp>
              <p:nvSpPr>
                <p:cNvPr id="90" name="文本框 89"/>
                <p:cNvSpPr txBox="1"/>
                <p:nvPr/>
              </p:nvSpPr>
              <p:spPr>
                <a:xfrm>
                  <a:off x="14153" y="9786"/>
                  <a:ext cx="3349" cy="44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altLang="zh-CN" sz="105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Security logs/traffic metadata</a:t>
                  </a:r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4363030" y="1556792"/>
              <a:ext cx="7390186" cy="3973195"/>
              <a:chOff x="2640" y="2720"/>
              <a:chExt cx="11529" cy="6107"/>
            </a:xfrm>
          </p:grpSpPr>
          <p:grpSp>
            <p:nvGrpSpPr>
              <p:cNvPr id="8" name="组合 7"/>
              <p:cNvGrpSpPr/>
              <p:nvPr/>
            </p:nvGrpSpPr>
            <p:grpSpPr>
              <a:xfrm>
                <a:off x="11035" y="2720"/>
                <a:ext cx="2890" cy="4870"/>
                <a:chOff x="2712" y="2720"/>
                <a:chExt cx="2890" cy="4870"/>
              </a:xfrm>
            </p:grpSpPr>
            <p:sp>
              <p:nvSpPr>
                <p:cNvPr id="77" name="圆角矩形 56"/>
                <p:cNvSpPr/>
                <p:nvPr/>
              </p:nvSpPr>
              <p:spPr>
                <a:xfrm>
                  <a:off x="3443" y="2720"/>
                  <a:ext cx="2159" cy="2333"/>
                </a:xfrm>
                <a:prstGeom prst="roundRect">
                  <a:avLst>
                    <a:gd name="adj" fmla="val 5676"/>
                  </a:avLst>
                </a:prstGeom>
                <a:solidFill>
                  <a:srgbClr val="092743"/>
                </a:solidFill>
                <a:ln w="12700">
                  <a:solidFill>
                    <a:srgbClr val="009FE6"/>
                  </a:solidFill>
                  <a:prstDash val="dash"/>
                </a:ln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endParaRPr lang="zh-CN" altLang="en-US" sz="3600">
                    <a:ln w="12700">
                      <a:noFill/>
                      <a:prstDash val="solid"/>
                    </a:ln>
                    <a:solidFill>
                      <a:schemeClr val="tx1"/>
                    </a:solidFill>
                    <a:latin typeface="思源黑体 CN Regular" panose="020B0500000000000000" pitchFamily="34" charset="-122"/>
                    <a:ea typeface="思源黑体 CN Regular" panose="020B0500000000000000" pitchFamily="34" charset="-122"/>
                  </a:endParaRPr>
                </a:p>
              </p:txBody>
            </p:sp>
            <p:pic>
              <p:nvPicPr>
                <p:cNvPr id="78" name="Picture 2" descr="https://www.hillstonenet.com.cn/wp-content/uploads/2017/01/%E5%B1%B1%E7%9F%B3%E6%99%BA%C2%B7%E6%BA%90logo-new2.png"/>
                <p:cNvPicPr>
                  <a:picLocks noChangeAspect="1" noChangeArrowheads="1"/>
                </p:cNvPicPr>
                <p:nvPr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935" b="31861"/>
                <a:stretch>
                  <a:fillRect/>
                </a:stretch>
              </p:blipFill>
              <p:spPr bwMode="auto">
                <a:xfrm>
                  <a:off x="4225" y="3351"/>
                  <a:ext cx="598" cy="38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79" name="文本框 78"/>
                <p:cNvSpPr txBox="1"/>
                <p:nvPr/>
              </p:nvSpPr>
              <p:spPr>
                <a:xfrm>
                  <a:off x="2712" y="7198"/>
                  <a:ext cx="2643" cy="39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anchor="t">
                  <a:spAutoFit/>
                </a:bodyPr>
                <a:lstStyle/>
                <a:p>
                  <a:pPr algn="ctr" hangingPunct="0"/>
                  <a:r>
                    <a:rPr lang="en-US" sz="900" b="1" dirty="0">
                      <a:solidFill>
                        <a:schemeClr val="bg1"/>
                      </a:solidFill>
                      <a:latin typeface="Calibri" panose="020F0502020204030204" charset="0"/>
                      <a:ea typeface="微软雅黑" panose="020B0503020204020204" charset="-122"/>
                      <a:cs typeface="Calibri" panose="020F0502020204030204" charset="0"/>
                      <a:sym typeface="Arial" panose="020B0604020202020204" pitchFamily="34" charset="0"/>
                    </a:rPr>
                    <a:t>Subordinate platform B</a:t>
                  </a:r>
                </a:p>
              </p:txBody>
            </p:sp>
            <p:grpSp>
              <p:nvGrpSpPr>
                <p:cNvPr id="80" name="组合 79"/>
                <p:cNvGrpSpPr/>
                <p:nvPr/>
              </p:nvGrpSpPr>
              <p:grpSpPr>
                <a:xfrm>
                  <a:off x="3668" y="4107"/>
                  <a:ext cx="1704" cy="760"/>
                  <a:chOff x="3668" y="4192"/>
                  <a:chExt cx="1704" cy="760"/>
                </a:xfrm>
              </p:grpSpPr>
              <p:pic>
                <p:nvPicPr>
                  <p:cNvPr id="81" name="图片 80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616" y="4192"/>
                    <a:ext cx="756" cy="216"/>
                  </a:xfrm>
                  <a:prstGeom prst="rect">
                    <a:avLst/>
                  </a:prstGeom>
                </p:spPr>
              </p:pic>
              <p:pic>
                <p:nvPicPr>
                  <p:cNvPr id="82" name="图片 81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68" y="4201"/>
                    <a:ext cx="731" cy="209"/>
                  </a:xfrm>
                  <a:prstGeom prst="rect">
                    <a:avLst/>
                  </a:prstGeom>
                </p:spPr>
              </p:pic>
              <p:pic>
                <p:nvPicPr>
                  <p:cNvPr id="83" name="图片 82"/>
                  <p:cNvPicPr>
                    <a:picLocks noChangeAspect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720" y="4575"/>
                    <a:ext cx="424" cy="349"/>
                  </a:xfrm>
                  <a:prstGeom prst="rect">
                    <a:avLst/>
                  </a:prstGeom>
                </p:spPr>
              </p:pic>
              <p:pic>
                <p:nvPicPr>
                  <p:cNvPr id="84" name="图片 83" descr="图片1"/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4326" y="4519"/>
                    <a:ext cx="393" cy="397"/>
                  </a:xfrm>
                  <a:prstGeom prst="rect">
                    <a:avLst/>
                  </a:prstGeom>
                </p:spPr>
              </p:pic>
              <p:pic>
                <p:nvPicPr>
                  <p:cNvPr id="85" name="图片 84"/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45" y="4508"/>
                    <a:ext cx="374" cy="445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9" name="组合 8"/>
              <p:cNvGrpSpPr/>
              <p:nvPr/>
            </p:nvGrpSpPr>
            <p:grpSpPr>
              <a:xfrm>
                <a:off x="3202" y="2720"/>
                <a:ext cx="2643" cy="2333"/>
                <a:chOff x="3202" y="2720"/>
                <a:chExt cx="2643" cy="2333"/>
              </a:xfrm>
            </p:grpSpPr>
            <p:sp>
              <p:nvSpPr>
                <p:cNvPr id="68" name="圆角矩形 56"/>
                <p:cNvSpPr/>
                <p:nvPr/>
              </p:nvSpPr>
              <p:spPr>
                <a:xfrm>
                  <a:off x="3443" y="2720"/>
                  <a:ext cx="2159" cy="2333"/>
                </a:xfrm>
                <a:prstGeom prst="roundRect">
                  <a:avLst>
                    <a:gd name="adj" fmla="val 5676"/>
                  </a:avLst>
                </a:prstGeom>
                <a:solidFill>
                  <a:srgbClr val="092743"/>
                </a:solidFill>
                <a:ln w="12700">
                  <a:solidFill>
                    <a:srgbClr val="009FE6"/>
                  </a:solidFill>
                  <a:prstDash val="dash"/>
                </a:ln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endParaRPr lang="zh-CN" altLang="en-US" sz="3600">
                    <a:ln w="12700">
                      <a:noFill/>
                      <a:prstDash val="solid"/>
                    </a:ln>
                    <a:solidFill>
                      <a:schemeClr val="tx1"/>
                    </a:solidFill>
                    <a:latin typeface="思源黑体 CN Regular" panose="020B0500000000000000" pitchFamily="34" charset="-122"/>
                    <a:ea typeface="思源黑体 CN Regular" panose="020B0500000000000000" pitchFamily="34" charset="-122"/>
                  </a:endParaRPr>
                </a:p>
              </p:txBody>
            </p:sp>
            <p:pic>
              <p:nvPicPr>
                <p:cNvPr id="69" name="Picture 2" descr="https://www.hillstonenet.com.cn/wp-content/uploads/2017/01/%E5%B1%B1%E7%9F%B3%E6%99%BA%C2%B7%E6%BA%90logo-new2.png"/>
                <p:cNvPicPr>
                  <a:picLocks noChangeAspect="1" noChangeArrowheads="1"/>
                </p:cNvPicPr>
                <p:nvPr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935" b="31861"/>
                <a:stretch>
                  <a:fillRect/>
                </a:stretch>
              </p:blipFill>
              <p:spPr bwMode="auto">
                <a:xfrm>
                  <a:off x="4225" y="3351"/>
                  <a:ext cx="598" cy="38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70" name="文本框 69"/>
                <p:cNvSpPr txBox="1"/>
                <p:nvPr/>
              </p:nvSpPr>
              <p:spPr>
                <a:xfrm>
                  <a:off x="3202" y="2777"/>
                  <a:ext cx="2643" cy="39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anchor="t">
                  <a:spAutoFit/>
                </a:bodyPr>
                <a:lstStyle/>
                <a:p>
                  <a:pPr algn="ctr" hangingPunct="0"/>
                  <a:r>
                    <a:rPr lang="en-US" sz="900" b="1" dirty="0">
                      <a:solidFill>
                        <a:schemeClr val="bg1"/>
                      </a:solidFill>
                      <a:latin typeface="Calibri" panose="020F0502020204030204" charset="0"/>
                      <a:ea typeface="微软雅黑" panose="020B0503020204020204" charset="-122"/>
                      <a:cs typeface="Calibri" panose="020F0502020204030204" charset="0"/>
                      <a:sym typeface="Arial" panose="020B0604020202020204" pitchFamily="34" charset="0"/>
                    </a:rPr>
                    <a:t>Subordinate platform A</a:t>
                  </a:r>
                </a:p>
              </p:txBody>
            </p:sp>
            <p:grpSp>
              <p:nvGrpSpPr>
                <p:cNvPr id="71" name="组合 70"/>
                <p:cNvGrpSpPr/>
                <p:nvPr/>
              </p:nvGrpSpPr>
              <p:grpSpPr>
                <a:xfrm>
                  <a:off x="3668" y="4107"/>
                  <a:ext cx="1704" cy="760"/>
                  <a:chOff x="3668" y="4192"/>
                  <a:chExt cx="1704" cy="760"/>
                </a:xfrm>
              </p:grpSpPr>
              <p:pic>
                <p:nvPicPr>
                  <p:cNvPr id="72" name="图片 71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616" y="4192"/>
                    <a:ext cx="756" cy="216"/>
                  </a:xfrm>
                  <a:prstGeom prst="rect">
                    <a:avLst/>
                  </a:prstGeom>
                </p:spPr>
              </p:pic>
              <p:pic>
                <p:nvPicPr>
                  <p:cNvPr id="73" name="图片 72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68" y="4201"/>
                    <a:ext cx="731" cy="209"/>
                  </a:xfrm>
                  <a:prstGeom prst="rect">
                    <a:avLst/>
                  </a:prstGeom>
                </p:spPr>
              </p:pic>
              <p:pic>
                <p:nvPicPr>
                  <p:cNvPr id="74" name="图片 73"/>
                  <p:cNvPicPr>
                    <a:picLocks noChangeAspect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720" y="4575"/>
                    <a:ext cx="424" cy="349"/>
                  </a:xfrm>
                  <a:prstGeom prst="rect">
                    <a:avLst/>
                  </a:prstGeom>
                </p:spPr>
              </p:pic>
              <p:pic>
                <p:nvPicPr>
                  <p:cNvPr id="75" name="图片 74" descr="图片1"/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4326" y="4519"/>
                    <a:ext cx="393" cy="397"/>
                  </a:xfrm>
                  <a:prstGeom prst="rect">
                    <a:avLst/>
                  </a:prstGeom>
                </p:spPr>
              </p:pic>
              <p:pic>
                <p:nvPicPr>
                  <p:cNvPr id="76" name="图片 75"/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45" y="4508"/>
                    <a:ext cx="374" cy="445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0" name="圆角矩形 56"/>
              <p:cNvSpPr/>
              <p:nvPr/>
            </p:nvSpPr>
            <p:spPr>
              <a:xfrm>
                <a:off x="6243" y="2945"/>
                <a:ext cx="4822" cy="5882"/>
              </a:xfrm>
              <a:prstGeom prst="roundRect">
                <a:avLst>
                  <a:gd name="adj" fmla="val 5676"/>
                </a:avLst>
              </a:prstGeom>
              <a:solidFill>
                <a:srgbClr val="092743"/>
              </a:solidFill>
              <a:ln w="12700">
                <a:solidFill>
                  <a:srgbClr val="009FE6"/>
                </a:solidFill>
                <a:prstDash val="dash"/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 sz="3600">
                  <a:ln w="12700">
                    <a:noFill/>
                    <a:prstDash val="solid"/>
                  </a:ln>
                  <a:solidFill>
                    <a:schemeClr val="tx1"/>
                  </a:solidFill>
                  <a:latin typeface="思源黑体 CN Regular" panose="020B0500000000000000" pitchFamily="34" charset="-122"/>
                  <a:ea typeface="思源黑体 CN Regular" panose="020B0500000000000000" pitchFamily="34" charset="-122"/>
                </a:endParaRPr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8065" y="3992"/>
                <a:ext cx="1205" cy="419"/>
                <a:chOff x="8466" y="2702"/>
                <a:chExt cx="1814" cy="741"/>
              </a:xfrm>
            </p:grpSpPr>
            <p:pic>
              <p:nvPicPr>
                <p:cNvPr id="66" name="图片 65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66" y="2923"/>
                  <a:ext cx="1814" cy="517"/>
                </a:xfrm>
                <a:prstGeom prst="rect">
                  <a:avLst/>
                </a:prstGeom>
              </p:spPr>
            </p:pic>
            <p:sp>
              <p:nvSpPr>
                <p:cNvPr id="67" name="文本框 66"/>
                <p:cNvSpPr txBox="1"/>
                <p:nvPr/>
              </p:nvSpPr>
              <p:spPr>
                <a:xfrm>
                  <a:off x="8788" y="2702"/>
                  <a:ext cx="1171" cy="7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1000" dirty="0" smtClean="0">
                      <a:solidFill>
                        <a:schemeClr val="bg1"/>
                      </a:solidFill>
                    </a:rPr>
                    <a:t>BDS</a:t>
                  </a:r>
                  <a:endParaRPr lang="en-US" altLang="zh-CN" sz="100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2" name="组合 11"/>
              <p:cNvGrpSpPr/>
              <p:nvPr/>
            </p:nvGrpSpPr>
            <p:grpSpPr>
              <a:xfrm>
                <a:off x="6657" y="5662"/>
                <a:ext cx="1205" cy="415"/>
                <a:chOff x="14273" y="1492"/>
                <a:chExt cx="1205" cy="415"/>
              </a:xfrm>
            </p:grpSpPr>
            <p:pic>
              <p:nvPicPr>
                <p:cNvPr id="64" name="图片 6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273" y="1614"/>
                  <a:ext cx="1205" cy="293"/>
                </a:xfrm>
                <a:prstGeom prst="rect">
                  <a:avLst/>
                </a:prstGeom>
              </p:spPr>
            </p:pic>
            <p:sp>
              <p:nvSpPr>
                <p:cNvPr id="65" name="文本框 64"/>
                <p:cNvSpPr txBox="1"/>
                <p:nvPr/>
              </p:nvSpPr>
              <p:spPr>
                <a:xfrm>
                  <a:off x="14457" y="1492"/>
                  <a:ext cx="838" cy="3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900" dirty="0" err="1">
                      <a:solidFill>
                        <a:schemeClr val="bg1"/>
                      </a:solidFill>
                    </a:rPr>
                    <a:t>NGFW</a:t>
                  </a:r>
                  <a:endParaRPr lang="en-US" altLang="zh-CN" sz="90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3" name="组合 12"/>
              <p:cNvGrpSpPr/>
              <p:nvPr/>
            </p:nvGrpSpPr>
            <p:grpSpPr>
              <a:xfrm>
                <a:off x="9545" y="5700"/>
                <a:ext cx="1206" cy="419"/>
                <a:chOff x="11509" y="5815"/>
                <a:chExt cx="1816" cy="741"/>
              </a:xfrm>
            </p:grpSpPr>
            <p:pic>
              <p:nvPicPr>
                <p:cNvPr id="62" name="图片 61"/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509" y="6035"/>
                  <a:ext cx="1816" cy="521"/>
                </a:xfrm>
                <a:prstGeom prst="rect">
                  <a:avLst/>
                </a:prstGeom>
              </p:spPr>
            </p:pic>
            <p:sp>
              <p:nvSpPr>
                <p:cNvPr id="63" name="文本框 62"/>
                <p:cNvSpPr txBox="1"/>
                <p:nvPr/>
              </p:nvSpPr>
              <p:spPr>
                <a:xfrm>
                  <a:off x="11831" y="5815"/>
                  <a:ext cx="1171" cy="6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1000">
                      <a:solidFill>
                        <a:schemeClr val="bg1"/>
                      </a:solidFill>
                    </a:rPr>
                    <a:t>WAF</a:t>
                  </a:r>
                </a:p>
              </p:txBody>
            </p:sp>
          </p:grpSp>
          <p:grpSp>
            <p:nvGrpSpPr>
              <p:cNvPr id="14" name="组合 13"/>
              <p:cNvGrpSpPr/>
              <p:nvPr/>
            </p:nvGrpSpPr>
            <p:grpSpPr>
              <a:xfrm>
                <a:off x="6671" y="4452"/>
                <a:ext cx="1176" cy="408"/>
                <a:chOff x="5680" y="5082"/>
                <a:chExt cx="1770" cy="722"/>
              </a:xfrm>
            </p:grpSpPr>
            <p:pic>
              <p:nvPicPr>
                <p:cNvPr id="60" name="图片 59"/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80" y="5299"/>
                  <a:ext cx="1770" cy="505"/>
                </a:xfrm>
                <a:prstGeom prst="rect">
                  <a:avLst/>
                </a:prstGeom>
              </p:spPr>
            </p:pic>
            <p:sp>
              <p:nvSpPr>
                <p:cNvPr id="61" name="文本框 60"/>
                <p:cNvSpPr txBox="1"/>
                <p:nvPr/>
              </p:nvSpPr>
              <p:spPr>
                <a:xfrm>
                  <a:off x="5979" y="5082"/>
                  <a:ext cx="1171" cy="6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1000">
                      <a:solidFill>
                        <a:schemeClr val="bg1"/>
                      </a:solidFill>
                    </a:rPr>
                    <a:t>IDPS</a:t>
                  </a:r>
                </a:p>
              </p:txBody>
            </p:sp>
          </p:grpSp>
          <p:cxnSp>
            <p:nvCxnSpPr>
              <p:cNvPr id="15" name="直接连接符 14"/>
              <p:cNvCxnSpPr/>
              <p:nvPr/>
            </p:nvCxnSpPr>
            <p:spPr>
              <a:xfrm flipH="1" flipV="1">
                <a:off x="8655" y="6026"/>
                <a:ext cx="2" cy="1758"/>
              </a:xfrm>
              <a:prstGeom prst="line">
                <a:avLst/>
              </a:prstGeom>
              <a:ln w="12700">
                <a:solidFill>
                  <a:srgbClr val="00B0F0"/>
                </a:solidFill>
                <a:prstDash val="dash"/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箭头连接符 15"/>
              <p:cNvCxnSpPr/>
              <p:nvPr/>
            </p:nvCxnSpPr>
            <p:spPr>
              <a:xfrm flipH="1">
                <a:off x="8655" y="4396"/>
                <a:ext cx="9" cy="816"/>
              </a:xfrm>
              <a:prstGeom prst="straightConnector1">
                <a:avLst/>
              </a:prstGeom>
              <a:ln w="12700">
                <a:solidFill>
                  <a:srgbClr val="00B05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箭头连接符 16"/>
              <p:cNvCxnSpPr>
                <a:stCxn id="61" idx="2"/>
              </p:cNvCxnSpPr>
              <p:nvPr/>
            </p:nvCxnSpPr>
            <p:spPr>
              <a:xfrm>
                <a:off x="7259" y="4829"/>
                <a:ext cx="932" cy="781"/>
              </a:xfrm>
              <a:prstGeom prst="straightConnector1">
                <a:avLst/>
              </a:prstGeom>
              <a:ln w="12700">
                <a:solidFill>
                  <a:srgbClr val="00B05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箭头连接符 17"/>
              <p:cNvCxnSpPr>
                <a:stCxn id="59" idx="0"/>
              </p:cNvCxnSpPr>
              <p:nvPr/>
            </p:nvCxnSpPr>
            <p:spPr>
              <a:xfrm flipH="1">
                <a:off x="9093" y="4953"/>
                <a:ext cx="1076" cy="632"/>
              </a:xfrm>
              <a:prstGeom prst="straightConnector1">
                <a:avLst/>
              </a:prstGeom>
              <a:ln w="12700">
                <a:solidFill>
                  <a:srgbClr val="00B05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9" name="组合 18"/>
              <p:cNvGrpSpPr/>
              <p:nvPr/>
            </p:nvGrpSpPr>
            <p:grpSpPr>
              <a:xfrm>
                <a:off x="9219" y="4392"/>
                <a:ext cx="1899" cy="953"/>
                <a:chOff x="9336" y="4109"/>
                <a:chExt cx="1899" cy="953"/>
              </a:xfrm>
            </p:grpSpPr>
            <p:pic>
              <p:nvPicPr>
                <p:cNvPr id="58" name="Picture 167"/>
                <p:cNvPicPr>
                  <a:picLocks noChangeAspect="1"/>
                </p:cNvPicPr>
                <p:nvPr/>
              </p:nvPicPr>
              <p:blipFill>
                <a:blip r:embed="rId10" cstate="email"/>
                <a:stretch>
                  <a:fillRect/>
                </a:stretch>
              </p:blipFill>
              <p:spPr>
                <a:xfrm>
                  <a:off x="10031" y="4109"/>
                  <a:ext cx="510" cy="633"/>
                </a:xfrm>
                <a:prstGeom prst="rect">
                  <a:avLst/>
                </a:prstGeom>
              </p:spPr>
            </p:pic>
            <p:sp>
              <p:nvSpPr>
                <p:cNvPr id="59" name="TextBox 101"/>
                <p:cNvSpPr txBox="1"/>
                <p:nvPr/>
              </p:nvSpPr>
              <p:spPr>
                <a:xfrm>
                  <a:off x="9336" y="4670"/>
                  <a:ext cx="1899" cy="392"/>
                </a:xfrm>
                <a:prstGeom prst="rect">
                  <a:avLst/>
                </a:prstGeom>
                <a:ln w="12700">
                  <a:miter lim="400000"/>
                </a:ln>
              </p:spPr>
              <p:txBody>
                <a:bodyPr wrap="square" lIns="45719" rIns="45719">
                  <a:spAutoFit/>
                </a:bodyPr>
                <a:lstStyle/>
                <a:p>
                  <a:pPr>
                    <a:defRPr sz="1200">
                      <a:solidFill>
                        <a:srgbClr val="002060"/>
                      </a:solidFill>
                      <a:latin typeface="微软雅黑" panose="020B0503020204020204" charset="-122"/>
                      <a:ea typeface="微软雅黑" panose="020B0503020204020204" charset="-122"/>
                      <a:cs typeface="微软雅黑" panose="020B0503020204020204" charset="-122"/>
                      <a:sym typeface="微软雅黑" panose="020B0503020204020204" charset="-122"/>
                    </a:defRPr>
                  </a:pPr>
                  <a:r>
                    <a:rPr lang="en-US" altLang="zh-CN" sz="900" dirty="0">
                      <a:solidFill>
                        <a:schemeClr val="bg1"/>
                      </a:solidFill>
                      <a:latin typeface="Calibri" panose="020F0502020204030204" charset="0"/>
                      <a:ea typeface="微软雅黑" panose="020B0503020204020204" charset="-122"/>
                      <a:cs typeface="Calibri" panose="020F0502020204030204" charset="0"/>
                      <a:sym typeface="Arial" panose="020B0604020202020204" pitchFamily="34" charset="0"/>
                    </a:rPr>
                    <a:t>Threat hunting plugin</a:t>
                  </a:r>
                </a:p>
              </p:txBody>
            </p:sp>
          </p:grpSp>
          <p:cxnSp>
            <p:nvCxnSpPr>
              <p:cNvPr id="20" name="直接箭头连接符 19"/>
              <p:cNvCxnSpPr/>
              <p:nvPr/>
            </p:nvCxnSpPr>
            <p:spPr>
              <a:xfrm flipV="1">
                <a:off x="7463" y="5608"/>
                <a:ext cx="728" cy="331"/>
              </a:xfrm>
              <a:prstGeom prst="straightConnector1">
                <a:avLst/>
              </a:prstGeom>
              <a:ln w="12700">
                <a:solidFill>
                  <a:srgbClr val="00B05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箭头连接符 20"/>
              <p:cNvCxnSpPr/>
              <p:nvPr/>
            </p:nvCxnSpPr>
            <p:spPr>
              <a:xfrm flipH="1" flipV="1">
                <a:off x="9074" y="5620"/>
                <a:ext cx="883" cy="345"/>
              </a:xfrm>
              <a:prstGeom prst="straightConnector1">
                <a:avLst/>
              </a:prstGeom>
              <a:ln w="12700">
                <a:solidFill>
                  <a:srgbClr val="00B05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文本框 21"/>
              <p:cNvSpPr txBox="1"/>
              <p:nvPr/>
            </p:nvSpPr>
            <p:spPr>
              <a:xfrm>
                <a:off x="7062" y="2945"/>
                <a:ext cx="3318" cy="46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algn="ctr" hangingPunct="0"/>
                <a:r>
                  <a:rPr lang="en-US" sz="1400" b="1" dirty="0">
                    <a:solidFill>
                      <a:schemeClr val="bg1"/>
                    </a:solidFill>
                    <a:latin typeface="Calibri" panose="020F0502020204030204" charset="0"/>
                    <a:ea typeface="微软雅黑" panose="020B0503020204020204" charset="-122"/>
                    <a:cs typeface="Calibri" panose="020F0502020204030204" charset="0"/>
                    <a:sym typeface="Arial" panose="020B0604020202020204" pitchFamily="34" charset="0"/>
                  </a:rPr>
                  <a:t>Superior platform</a:t>
                </a:r>
                <a:endParaRPr lang="en-US" sz="1400" b="1" dirty="0" smtClean="0">
                  <a:solidFill>
                    <a:schemeClr val="bg1"/>
                  </a:solidFill>
                  <a:latin typeface="Calibri" panose="020F0502020204030204" charset="0"/>
                  <a:ea typeface="微软雅黑" panose="020B0503020204020204" charset="-122"/>
                  <a:cs typeface="Calibri" panose="020F0502020204030204" charset="0"/>
                  <a:sym typeface="Arial" panose="020B0604020202020204" pitchFamily="34" charset="0"/>
                </a:endParaRPr>
              </a:p>
            </p:txBody>
          </p:sp>
          <p:cxnSp>
            <p:nvCxnSpPr>
              <p:cNvPr id="23" name="肘形连接符 22"/>
              <p:cNvCxnSpPr/>
              <p:nvPr/>
            </p:nvCxnSpPr>
            <p:spPr>
              <a:xfrm>
                <a:off x="4823" y="3465"/>
                <a:ext cx="3427" cy="1903"/>
              </a:xfrm>
              <a:prstGeom prst="bentConnector3">
                <a:avLst>
                  <a:gd name="adj1" fmla="val 94368"/>
                </a:avLst>
              </a:prstGeom>
              <a:ln w="12700">
                <a:solidFill>
                  <a:srgbClr val="00B05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箭头连接符 156"/>
              <p:cNvCxnSpPr>
                <a:endCxn id="69" idx="1"/>
              </p:cNvCxnSpPr>
              <p:nvPr/>
            </p:nvCxnSpPr>
            <p:spPr>
              <a:xfrm rot="5400000" flipH="1" flipV="1">
                <a:off x="2412" y="4249"/>
                <a:ext cx="2517" cy="1109"/>
              </a:xfrm>
              <a:prstGeom prst="bentConnector2">
                <a:avLst/>
              </a:prstGeom>
              <a:ln w="12700">
                <a:solidFill>
                  <a:srgbClr val="00B05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肘形连接符 26"/>
              <p:cNvCxnSpPr/>
              <p:nvPr/>
            </p:nvCxnSpPr>
            <p:spPr>
              <a:xfrm rot="10800000" flipV="1">
                <a:off x="9008" y="3420"/>
                <a:ext cx="3521" cy="1947"/>
              </a:xfrm>
              <a:prstGeom prst="bentConnector3">
                <a:avLst>
                  <a:gd name="adj1" fmla="val 93155"/>
                </a:avLst>
              </a:prstGeom>
              <a:ln w="12700">
                <a:solidFill>
                  <a:srgbClr val="00B05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9" name="组合 28"/>
              <p:cNvGrpSpPr/>
              <p:nvPr/>
            </p:nvGrpSpPr>
            <p:grpSpPr>
              <a:xfrm>
                <a:off x="8092" y="5215"/>
                <a:ext cx="1238" cy="959"/>
                <a:chOff x="8092" y="5285"/>
                <a:chExt cx="1238" cy="959"/>
              </a:xfrm>
            </p:grpSpPr>
            <p:pic>
              <p:nvPicPr>
                <p:cNvPr id="56" name="Picture 2" descr="https://www.hillstonenet.com.cn/wp-content/uploads/2017/01/%E5%B1%B1%E7%9F%B3%E6%99%BA%C2%B7%E6%BA%90logo-new2.png"/>
                <p:cNvPicPr>
                  <a:picLocks noChangeAspect="1" noChangeArrowheads="1"/>
                </p:cNvPicPr>
                <p:nvPr/>
              </p:nvPicPr>
              <p:blipFill rotWithShape="1"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935" b="31861"/>
                <a:stretch>
                  <a:fillRect/>
                </a:stretch>
              </p:blipFill>
              <p:spPr bwMode="auto">
                <a:xfrm>
                  <a:off x="8092" y="5285"/>
                  <a:ext cx="1128" cy="73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7" name="文本框 56"/>
                <p:cNvSpPr txBox="1"/>
                <p:nvPr/>
              </p:nvSpPr>
              <p:spPr>
                <a:xfrm>
                  <a:off x="8211" y="5852"/>
                  <a:ext cx="1119" cy="3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 sz="900" dirty="0" err="1">
                      <a:solidFill>
                        <a:schemeClr val="bg1"/>
                      </a:solidFill>
                    </a:rPr>
                    <a:t>iSource</a:t>
                  </a:r>
                  <a:endParaRPr lang="en-US" altLang="zh-CN" sz="90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30" name="组合 29"/>
              <p:cNvGrpSpPr/>
              <p:nvPr/>
            </p:nvGrpSpPr>
            <p:grpSpPr>
              <a:xfrm>
                <a:off x="8085" y="6953"/>
                <a:ext cx="1139" cy="527"/>
                <a:chOff x="8085" y="6953"/>
                <a:chExt cx="1139" cy="527"/>
              </a:xfrm>
            </p:grpSpPr>
            <p:sp>
              <p:nvSpPr>
                <p:cNvPr id="54" name="任意多边形 117"/>
                <p:cNvSpPr/>
                <p:nvPr/>
              </p:nvSpPr>
              <p:spPr>
                <a:xfrm>
                  <a:off x="8085" y="6953"/>
                  <a:ext cx="1139" cy="527"/>
                </a:xfrm>
                <a:custGeom>
                  <a:avLst/>
                  <a:gdLst>
                    <a:gd name="connsiteX0" fmla="*/ 1620000 w 4320000"/>
                    <a:gd name="connsiteY0" fmla="*/ 0 h 2520000"/>
                    <a:gd name="connsiteX1" fmla="*/ 2040385 w 4320000"/>
                    <a:gd name="connsiteY1" fmla="*/ 56581 h 2520000"/>
                    <a:gd name="connsiteX2" fmla="*/ 2160000 w 4320000"/>
                    <a:gd name="connsiteY2" fmla="*/ 99865 h 2520000"/>
                    <a:gd name="connsiteX3" fmla="*/ 2279615 w 4320000"/>
                    <a:gd name="connsiteY3" fmla="*/ 56581 h 2520000"/>
                    <a:gd name="connsiteX4" fmla="*/ 2700000 w 4320000"/>
                    <a:gd name="connsiteY4" fmla="*/ 0 h 2520000"/>
                    <a:gd name="connsiteX5" fmla="*/ 3758058 w 4320000"/>
                    <a:gd name="connsiteY5" fmla="*/ 574895 h 2520000"/>
                    <a:gd name="connsiteX6" fmla="*/ 3771239 w 4320000"/>
                    <a:gd name="connsiteY6" fmla="*/ 662063 h 2520000"/>
                    <a:gd name="connsiteX7" fmla="*/ 3826761 w 4320000"/>
                    <a:gd name="connsiteY7" fmla="*/ 687517 h 2520000"/>
                    <a:gd name="connsiteX8" fmla="*/ 4320000 w 4320000"/>
                    <a:gd name="connsiteY8" fmla="*/ 1260000 h 2520000"/>
                    <a:gd name="connsiteX9" fmla="*/ 3826761 w 4320000"/>
                    <a:gd name="connsiteY9" fmla="*/ 1832484 h 2520000"/>
                    <a:gd name="connsiteX10" fmla="*/ 3771239 w 4320000"/>
                    <a:gd name="connsiteY10" fmla="*/ 1857938 h 2520000"/>
                    <a:gd name="connsiteX11" fmla="*/ 3758058 w 4320000"/>
                    <a:gd name="connsiteY11" fmla="*/ 1945105 h 2520000"/>
                    <a:gd name="connsiteX12" fmla="*/ 2700000 w 4320000"/>
                    <a:gd name="connsiteY12" fmla="*/ 2520000 h 2520000"/>
                    <a:gd name="connsiteX13" fmla="*/ 2279615 w 4320000"/>
                    <a:gd name="connsiteY13" fmla="*/ 2463419 h 2520000"/>
                    <a:gd name="connsiteX14" fmla="*/ 2160000 w 4320000"/>
                    <a:gd name="connsiteY14" fmla="*/ 2420136 h 2520000"/>
                    <a:gd name="connsiteX15" fmla="*/ 2040385 w 4320000"/>
                    <a:gd name="connsiteY15" fmla="*/ 2463419 h 2520000"/>
                    <a:gd name="connsiteX16" fmla="*/ 1620000 w 4320000"/>
                    <a:gd name="connsiteY16" fmla="*/ 2520000 h 2520000"/>
                    <a:gd name="connsiteX17" fmla="*/ 561942 w 4320000"/>
                    <a:gd name="connsiteY17" fmla="*/ 1945105 h 2520000"/>
                    <a:gd name="connsiteX18" fmla="*/ 548761 w 4320000"/>
                    <a:gd name="connsiteY18" fmla="*/ 1857938 h 2520000"/>
                    <a:gd name="connsiteX19" fmla="*/ 493239 w 4320000"/>
                    <a:gd name="connsiteY19" fmla="*/ 1832484 h 2520000"/>
                    <a:gd name="connsiteX20" fmla="*/ 0 w 4320000"/>
                    <a:gd name="connsiteY20" fmla="*/ 1260000 h 2520000"/>
                    <a:gd name="connsiteX21" fmla="*/ 493239 w 4320000"/>
                    <a:gd name="connsiteY21" fmla="*/ 687517 h 2520000"/>
                    <a:gd name="connsiteX22" fmla="*/ 548761 w 4320000"/>
                    <a:gd name="connsiteY22" fmla="*/ 662063 h 2520000"/>
                    <a:gd name="connsiteX23" fmla="*/ 561942 w 4320000"/>
                    <a:gd name="connsiteY23" fmla="*/ 574895 h 2520000"/>
                    <a:gd name="connsiteX24" fmla="*/ 1620000 w 4320000"/>
                    <a:gd name="connsiteY24" fmla="*/ 0 h 252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4320000" h="2520000">
                      <a:moveTo>
                        <a:pt x="1620000" y="0"/>
                      </a:moveTo>
                      <a:cubicBezTo>
                        <a:pt x="1769117" y="0"/>
                        <a:pt x="1911176" y="20147"/>
                        <a:pt x="2040385" y="56581"/>
                      </a:cubicBezTo>
                      <a:lnTo>
                        <a:pt x="2160000" y="99865"/>
                      </a:lnTo>
                      <a:lnTo>
                        <a:pt x="2279615" y="56581"/>
                      </a:lnTo>
                      <a:cubicBezTo>
                        <a:pt x="2408825" y="20147"/>
                        <a:pt x="2550883" y="0"/>
                        <a:pt x="2700000" y="0"/>
                      </a:cubicBezTo>
                      <a:cubicBezTo>
                        <a:pt x="3221910" y="0"/>
                        <a:pt x="3657352" y="246803"/>
                        <a:pt x="3758058" y="574895"/>
                      </a:cubicBezTo>
                      <a:lnTo>
                        <a:pt x="3771239" y="662063"/>
                      </a:lnTo>
                      <a:lnTo>
                        <a:pt x="3826761" y="687517"/>
                      </a:lnTo>
                      <a:cubicBezTo>
                        <a:pt x="4134898" y="843090"/>
                        <a:pt x="4320000" y="1042538"/>
                        <a:pt x="4320000" y="1260000"/>
                      </a:cubicBezTo>
                      <a:cubicBezTo>
                        <a:pt x="4320000" y="1477462"/>
                        <a:pt x="4134898" y="1676911"/>
                        <a:pt x="3826761" y="1832484"/>
                      </a:cubicBezTo>
                      <a:lnTo>
                        <a:pt x="3771239" y="1857938"/>
                      </a:lnTo>
                      <a:lnTo>
                        <a:pt x="3758058" y="1945105"/>
                      </a:lnTo>
                      <a:cubicBezTo>
                        <a:pt x="3657352" y="2273197"/>
                        <a:pt x="3221910" y="2520000"/>
                        <a:pt x="2700000" y="2520000"/>
                      </a:cubicBezTo>
                      <a:cubicBezTo>
                        <a:pt x="2550883" y="2520000"/>
                        <a:pt x="2408825" y="2499853"/>
                        <a:pt x="2279615" y="2463419"/>
                      </a:cubicBezTo>
                      <a:lnTo>
                        <a:pt x="2160000" y="2420136"/>
                      </a:lnTo>
                      <a:lnTo>
                        <a:pt x="2040385" y="2463419"/>
                      </a:lnTo>
                      <a:cubicBezTo>
                        <a:pt x="1911176" y="2499853"/>
                        <a:pt x="1769117" y="2520000"/>
                        <a:pt x="1620000" y="2520000"/>
                      </a:cubicBezTo>
                      <a:cubicBezTo>
                        <a:pt x="1098091" y="2520000"/>
                        <a:pt x="662648" y="2273197"/>
                        <a:pt x="561942" y="1945105"/>
                      </a:cubicBezTo>
                      <a:lnTo>
                        <a:pt x="548761" y="1857938"/>
                      </a:lnTo>
                      <a:lnTo>
                        <a:pt x="493239" y="1832484"/>
                      </a:lnTo>
                      <a:cubicBezTo>
                        <a:pt x="185102" y="1676911"/>
                        <a:pt x="0" y="1477462"/>
                        <a:pt x="0" y="1260000"/>
                      </a:cubicBezTo>
                      <a:cubicBezTo>
                        <a:pt x="0" y="1042538"/>
                        <a:pt x="185102" y="843090"/>
                        <a:pt x="493239" y="687517"/>
                      </a:cubicBezTo>
                      <a:lnTo>
                        <a:pt x="548761" y="662063"/>
                      </a:lnTo>
                      <a:lnTo>
                        <a:pt x="561942" y="574895"/>
                      </a:lnTo>
                      <a:cubicBezTo>
                        <a:pt x="662648" y="246803"/>
                        <a:pt x="1098091" y="0"/>
                        <a:pt x="1620000" y="0"/>
                      </a:cubicBezTo>
                      <a:close/>
                    </a:path>
                  </a:pathLst>
                </a:custGeom>
                <a:solidFill>
                  <a:srgbClr val="4D87C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zh-CN" altLang="en-US" sz="1100" kern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charset="-122"/>
                    <a:cs typeface="+mn-ea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55" name="文本框 54"/>
                <p:cNvSpPr txBox="1"/>
                <p:nvPr/>
              </p:nvSpPr>
              <p:spPr>
                <a:xfrm>
                  <a:off x="8178" y="7023"/>
                  <a:ext cx="1041" cy="3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 sz="900" dirty="0">
                      <a:solidFill>
                        <a:schemeClr val="bg1"/>
                      </a:solidFill>
                    </a:rPr>
                    <a:t>Internet</a:t>
                  </a:r>
                </a:p>
              </p:txBody>
            </p:sp>
          </p:grpSp>
          <p:pic>
            <p:nvPicPr>
              <p:cNvPr id="31" name="图片 30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322" y="7840"/>
                <a:ext cx="693" cy="536"/>
              </a:xfrm>
              <a:prstGeom prst="rect">
                <a:avLst/>
              </a:prstGeom>
            </p:spPr>
          </p:pic>
          <p:sp>
            <p:nvSpPr>
              <p:cNvPr id="32" name="文本框 31"/>
              <p:cNvSpPr txBox="1"/>
              <p:nvPr/>
            </p:nvSpPr>
            <p:spPr>
              <a:xfrm>
                <a:off x="7141" y="8337"/>
                <a:ext cx="3177" cy="3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900" dirty="0">
                    <a:solidFill>
                      <a:schemeClr val="bg1"/>
                    </a:solidFill>
                  </a:rPr>
                  <a:t>Hillstone threat intelligence center</a:t>
                </a:r>
              </a:p>
            </p:txBody>
          </p:sp>
          <p:grpSp>
            <p:nvGrpSpPr>
              <p:cNvPr id="33" name="组合 32"/>
              <p:cNvGrpSpPr/>
              <p:nvPr/>
            </p:nvGrpSpPr>
            <p:grpSpPr>
              <a:xfrm>
                <a:off x="11526" y="6168"/>
                <a:ext cx="2643" cy="2333"/>
                <a:chOff x="3202" y="2720"/>
                <a:chExt cx="2643" cy="2333"/>
              </a:xfrm>
            </p:grpSpPr>
            <p:sp>
              <p:nvSpPr>
                <p:cNvPr id="45" name="圆角矩形 56"/>
                <p:cNvSpPr/>
                <p:nvPr/>
              </p:nvSpPr>
              <p:spPr>
                <a:xfrm>
                  <a:off x="3443" y="2720"/>
                  <a:ext cx="2159" cy="2333"/>
                </a:xfrm>
                <a:prstGeom prst="roundRect">
                  <a:avLst>
                    <a:gd name="adj" fmla="val 5676"/>
                  </a:avLst>
                </a:prstGeom>
                <a:solidFill>
                  <a:srgbClr val="092743"/>
                </a:solidFill>
                <a:ln w="12700">
                  <a:solidFill>
                    <a:srgbClr val="009FE6"/>
                  </a:solidFill>
                  <a:prstDash val="dash"/>
                </a:ln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endParaRPr lang="zh-CN" altLang="en-US" sz="3600">
                    <a:ln w="12700">
                      <a:noFill/>
                      <a:prstDash val="solid"/>
                    </a:ln>
                    <a:solidFill>
                      <a:schemeClr val="tx1"/>
                    </a:solidFill>
                    <a:latin typeface="思源黑体 CN Regular" panose="020B0500000000000000" pitchFamily="34" charset="-122"/>
                    <a:ea typeface="思源黑体 CN Regular" panose="020B0500000000000000" pitchFamily="34" charset="-122"/>
                  </a:endParaRPr>
                </a:p>
              </p:txBody>
            </p:sp>
            <p:pic>
              <p:nvPicPr>
                <p:cNvPr id="46" name="Picture 2" descr="https://www.hillstonenet.com.cn/wp-content/uploads/2017/01/%E5%B1%B1%E7%9F%B3%E6%99%BA%C2%B7%E6%BA%90logo-new2.png"/>
                <p:cNvPicPr>
                  <a:picLocks noChangeAspect="1" noChangeArrowheads="1"/>
                </p:cNvPicPr>
                <p:nvPr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935" b="31861"/>
                <a:stretch>
                  <a:fillRect/>
                </a:stretch>
              </p:blipFill>
              <p:spPr bwMode="auto">
                <a:xfrm>
                  <a:off x="4225" y="3351"/>
                  <a:ext cx="598" cy="38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47" name="文本框 46"/>
                <p:cNvSpPr txBox="1"/>
                <p:nvPr/>
              </p:nvSpPr>
              <p:spPr>
                <a:xfrm>
                  <a:off x="3202" y="2777"/>
                  <a:ext cx="2643" cy="39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anchor="t">
                  <a:spAutoFit/>
                </a:bodyPr>
                <a:lstStyle/>
                <a:p>
                  <a:pPr algn="ctr" hangingPunct="0"/>
                  <a:r>
                    <a:rPr lang="en-US" sz="900" b="1" dirty="0">
                      <a:solidFill>
                        <a:schemeClr val="bg1"/>
                      </a:solidFill>
                      <a:latin typeface="Calibri" panose="020F0502020204030204" charset="0"/>
                      <a:ea typeface="微软雅黑" panose="020B0503020204020204" charset="-122"/>
                      <a:cs typeface="Calibri" panose="020F0502020204030204" charset="0"/>
                      <a:sym typeface="Arial" panose="020B0604020202020204" pitchFamily="34" charset="0"/>
                    </a:rPr>
                    <a:t>Subordinate platform C</a:t>
                  </a:r>
                </a:p>
              </p:txBody>
            </p:sp>
            <p:grpSp>
              <p:nvGrpSpPr>
                <p:cNvPr id="48" name="组合 47"/>
                <p:cNvGrpSpPr/>
                <p:nvPr/>
              </p:nvGrpSpPr>
              <p:grpSpPr>
                <a:xfrm>
                  <a:off x="3668" y="4107"/>
                  <a:ext cx="1704" cy="760"/>
                  <a:chOff x="3668" y="4192"/>
                  <a:chExt cx="1704" cy="760"/>
                </a:xfrm>
              </p:grpSpPr>
              <p:pic>
                <p:nvPicPr>
                  <p:cNvPr id="49" name="图片 48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616" y="4192"/>
                    <a:ext cx="756" cy="216"/>
                  </a:xfrm>
                  <a:prstGeom prst="rect">
                    <a:avLst/>
                  </a:prstGeom>
                </p:spPr>
              </p:pic>
              <p:pic>
                <p:nvPicPr>
                  <p:cNvPr id="50" name="图片 49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68" y="4201"/>
                    <a:ext cx="731" cy="209"/>
                  </a:xfrm>
                  <a:prstGeom prst="rect">
                    <a:avLst/>
                  </a:prstGeom>
                </p:spPr>
              </p:pic>
              <p:pic>
                <p:nvPicPr>
                  <p:cNvPr id="51" name="图片 50"/>
                  <p:cNvPicPr>
                    <a:picLocks noChangeAspect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720" y="4575"/>
                    <a:ext cx="424" cy="349"/>
                  </a:xfrm>
                  <a:prstGeom prst="rect">
                    <a:avLst/>
                  </a:prstGeom>
                </p:spPr>
              </p:pic>
              <p:pic>
                <p:nvPicPr>
                  <p:cNvPr id="52" name="图片 51" descr="图片1"/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4326" y="4519"/>
                    <a:ext cx="393" cy="397"/>
                  </a:xfrm>
                  <a:prstGeom prst="rect">
                    <a:avLst/>
                  </a:prstGeom>
                </p:spPr>
              </p:pic>
              <p:pic>
                <p:nvPicPr>
                  <p:cNvPr id="53" name="图片 52"/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45" y="4508"/>
                    <a:ext cx="374" cy="445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34" name="组合 33"/>
              <p:cNvGrpSpPr/>
              <p:nvPr/>
            </p:nvGrpSpPr>
            <p:grpSpPr>
              <a:xfrm>
                <a:off x="2640" y="6054"/>
                <a:ext cx="1792" cy="2288"/>
                <a:chOff x="2640" y="6054"/>
                <a:chExt cx="1792" cy="2288"/>
              </a:xfrm>
            </p:grpSpPr>
            <p:grpSp>
              <p:nvGrpSpPr>
                <p:cNvPr id="37" name="组合 36"/>
                <p:cNvGrpSpPr/>
                <p:nvPr/>
              </p:nvGrpSpPr>
              <p:grpSpPr>
                <a:xfrm>
                  <a:off x="2640" y="6054"/>
                  <a:ext cx="1730" cy="2288"/>
                  <a:chOff x="2939" y="5508"/>
                  <a:chExt cx="1730" cy="2288"/>
                </a:xfrm>
              </p:grpSpPr>
              <p:sp>
                <p:nvSpPr>
                  <p:cNvPr id="39" name="圆角矩形 56"/>
                  <p:cNvSpPr/>
                  <p:nvPr/>
                </p:nvSpPr>
                <p:spPr>
                  <a:xfrm>
                    <a:off x="2939" y="5508"/>
                    <a:ext cx="1730" cy="2288"/>
                  </a:xfrm>
                  <a:prstGeom prst="roundRect">
                    <a:avLst>
                      <a:gd name="adj" fmla="val 5676"/>
                    </a:avLst>
                  </a:prstGeom>
                  <a:solidFill>
                    <a:srgbClr val="092743"/>
                  </a:solidFill>
                  <a:ln w="12700">
                    <a:solidFill>
                      <a:srgbClr val="009FE6"/>
                    </a:solidFill>
                    <a:prstDash val="dash"/>
                  </a:ln>
                </p:spPr>
                <p:style>
                  <a:lnRef idx="3">
                    <a:schemeClr val="lt1"/>
                  </a:lnRef>
                  <a:fillRef idx="1">
                    <a:schemeClr val="accent5"/>
                  </a:fillRef>
                  <a:effectRef idx="1">
                    <a:schemeClr val="accent5"/>
                  </a:effectRef>
                  <a:fontRef idx="minor">
                    <a:schemeClr val="lt1"/>
                  </a:fontRef>
                </p:style>
                <p:txBody>
                  <a:bodyPr wrap="none" anchor="ctr"/>
                  <a:lstStyle/>
                  <a:p>
                    <a:endParaRPr lang="zh-CN" altLang="en-US" sz="3600">
                      <a:ln w="12700">
                        <a:noFill/>
                        <a:prstDash val="solid"/>
                      </a:ln>
                      <a:solidFill>
                        <a:schemeClr val="tx1"/>
                      </a:solidFill>
                      <a:latin typeface="思源黑体 CN Regular" panose="020B0500000000000000" pitchFamily="34" charset="-122"/>
                      <a:ea typeface="思源黑体 CN Regular" panose="020B0500000000000000" pitchFamily="34" charset="-122"/>
                    </a:endParaRPr>
                  </a:p>
                </p:txBody>
              </p:sp>
              <p:pic>
                <p:nvPicPr>
                  <p:cNvPr id="40" name="图片 39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453" y="6707"/>
                    <a:ext cx="756" cy="216"/>
                  </a:xfrm>
                  <a:prstGeom prst="rect">
                    <a:avLst/>
                  </a:prstGeom>
                </p:spPr>
              </p:pic>
              <p:pic>
                <p:nvPicPr>
                  <p:cNvPr id="41" name="图片 40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475" y="6225"/>
                    <a:ext cx="731" cy="209"/>
                  </a:xfrm>
                  <a:prstGeom prst="rect">
                    <a:avLst/>
                  </a:prstGeom>
                </p:spPr>
              </p:pic>
              <p:pic>
                <p:nvPicPr>
                  <p:cNvPr id="42" name="图片 41"/>
                  <p:cNvPicPr>
                    <a:picLocks noChangeAspect="1"/>
                  </p:cNvPicPr>
                  <p:nvPr/>
                </p:nvPicPr>
                <p:blipFill>
                  <a:blip r:embed="rId13"/>
                  <a:stretch>
                    <a:fillRect/>
                  </a:stretch>
                </p:blipFill>
                <p:spPr>
                  <a:xfrm>
                    <a:off x="3028" y="7239"/>
                    <a:ext cx="473" cy="309"/>
                  </a:xfrm>
                  <a:prstGeom prst="rect">
                    <a:avLst/>
                  </a:prstGeom>
                </p:spPr>
              </p:pic>
              <p:pic>
                <p:nvPicPr>
                  <p:cNvPr id="43" name="图片 42" descr="图片1"/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3634" y="7167"/>
                    <a:ext cx="393" cy="397"/>
                  </a:xfrm>
                  <a:prstGeom prst="rect">
                    <a:avLst/>
                  </a:prstGeom>
                </p:spPr>
              </p:pic>
              <p:pic>
                <p:nvPicPr>
                  <p:cNvPr id="44" name="图片 43"/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209" y="7153"/>
                    <a:ext cx="374" cy="445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38" name="文本框 37"/>
                <p:cNvSpPr txBox="1"/>
                <p:nvPr/>
              </p:nvSpPr>
              <p:spPr>
                <a:xfrm>
                  <a:off x="2927" y="6144"/>
                  <a:ext cx="1505" cy="3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altLang="zh-CN" sz="900" dirty="0">
                      <a:solidFill>
                        <a:schemeClr val="bg1"/>
                      </a:solidFill>
                    </a:rPr>
                    <a:t>Branch of A</a:t>
                  </a:r>
                </a:p>
              </p:txBody>
            </p:sp>
          </p:grpSp>
          <p:cxnSp>
            <p:nvCxnSpPr>
              <p:cNvPr id="36" name="肘形连接符 35"/>
              <p:cNvCxnSpPr/>
              <p:nvPr/>
            </p:nvCxnSpPr>
            <p:spPr>
              <a:xfrm rot="10800000">
                <a:off x="9009" y="5794"/>
                <a:ext cx="3547" cy="1294"/>
              </a:xfrm>
              <a:prstGeom prst="bentConnector3">
                <a:avLst>
                  <a:gd name="adj1" fmla="val 92077"/>
                </a:avLst>
              </a:prstGeom>
              <a:ln w="12700">
                <a:solidFill>
                  <a:srgbClr val="00B05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17" name="内容占位符 54" descr="WeCom Screenshot_2022062211184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589037" y="2010615"/>
            <a:ext cx="4016765" cy="1811987"/>
          </a:xfrm>
          <a:prstGeom prst="rect">
            <a:avLst/>
          </a:prstGeom>
        </p:spPr>
      </p:pic>
      <p:sp>
        <p:nvSpPr>
          <p:cNvPr id="118" name="Rectangle 4">
            <a:extLst>
              <a:ext uri="{FF2B5EF4-FFF2-40B4-BE49-F238E27FC236}">
                <a16:creationId xmlns="" xmlns:a16="http://schemas.microsoft.com/office/drawing/2014/main" id="{4A018EF9-1DBC-4076-8669-3FA757A84306}"/>
              </a:ext>
            </a:extLst>
          </p:cNvPr>
          <p:cNvSpPr/>
          <p:nvPr/>
        </p:nvSpPr>
        <p:spPr>
          <a:xfrm>
            <a:off x="587375" y="1258569"/>
            <a:ext cx="6548500" cy="5064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Hierarchical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endParaRPr lang="x-non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27">
            <a:extLst>
              <a:ext uri="{FF2B5EF4-FFF2-40B4-BE49-F238E27FC236}">
                <a16:creationId xmlns="" xmlns:a16="http://schemas.microsoft.com/office/drawing/2014/main" id="{780E0AC1-6983-4936-A321-9BDEE4F85FD1}"/>
              </a:ext>
            </a:extLst>
          </p:cNvPr>
          <p:cNvSpPr/>
          <p:nvPr/>
        </p:nvSpPr>
        <p:spPr>
          <a:xfrm>
            <a:off x="7589036" y="1258569"/>
            <a:ext cx="4015513" cy="5064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Hierarchical Management Monitoring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ashboard</a:t>
            </a:r>
            <a:endParaRPr lang="x-none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矩形 21">
            <a:extLst>
              <a:ext uri="{FF2B5EF4-FFF2-40B4-BE49-F238E27FC236}">
                <a16:creationId xmlns="" xmlns:a16="http://schemas.microsoft.com/office/drawing/2014/main" id="{DBEB8D87-4D62-4915-AE14-DC7503201E10}"/>
              </a:ext>
            </a:extLst>
          </p:cNvPr>
          <p:cNvSpPr/>
          <p:nvPr/>
        </p:nvSpPr>
        <p:spPr>
          <a:xfrm>
            <a:off x="7589036" y="3812045"/>
            <a:ext cx="4015513" cy="7524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r>
              <a:rPr kumimoji="1" lang="en-US" altLang="zh-CN" sz="1000" b="1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ggregated Security Posture Across All Platforms</a:t>
            </a:r>
          </a:p>
          <a:p>
            <a:pPr lvl="0" algn="ctr"/>
            <a:endParaRPr kumimoji="1" lang="en-US" altLang="zh-CN" sz="1000" dirty="0" smtClean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  <a:p>
            <a:pPr lvl="0" algn="ctr"/>
            <a:r>
              <a:rPr kumimoji="1" lang="en-US" altLang="zh-CN" sz="90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Presents assets, threat events and other security posture information from all subordinate platforms as well as superior platform</a:t>
            </a:r>
            <a:endParaRPr kumimoji="1" lang="en-US" altLang="zh-CN" sz="9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21" name="矩形 20">
            <a:extLst>
              <a:ext uri="{FF2B5EF4-FFF2-40B4-BE49-F238E27FC236}">
                <a16:creationId xmlns="" xmlns:a16="http://schemas.microsoft.com/office/drawing/2014/main" id="{5460AED6-8869-437F-924A-5746093BE729}"/>
              </a:ext>
            </a:extLst>
          </p:cNvPr>
          <p:cNvSpPr/>
          <p:nvPr/>
        </p:nvSpPr>
        <p:spPr>
          <a:xfrm>
            <a:off x="7584132" y="4677612"/>
            <a:ext cx="1890068" cy="6252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r>
              <a:rPr lang="en-US" altLang="zh-CN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gregated Security Posture Monitoring Dashboard</a:t>
            </a:r>
            <a:endParaRPr kumimoji="1" lang="zh-CN" altLang="en-US" sz="8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22" name="矩形 20">
            <a:extLst>
              <a:ext uri="{FF2B5EF4-FFF2-40B4-BE49-F238E27FC236}">
                <a16:creationId xmlns="" xmlns:a16="http://schemas.microsoft.com/office/drawing/2014/main" id="{5460AED6-8869-437F-924A-5746093BE729}"/>
              </a:ext>
            </a:extLst>
          </p:cNvPr>
          <p:cNvSpPr/>
          <p:nvPr/>
        </p:nvSpPr>
        <p:spPr>
          <a:xfrm>
            <a:off x="9596120" y="4677612"/>
            <a:ext cx="2008429" cy="6252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r>
              <a:rPr lang="en-US" altLang="zh-CN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ered </a:t>
            </a:r>
            <a:r>
              <a:rPr lang="en-US" altLang="zh-CN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 from Different Perspectives</a:t>
            </a:r>
            <a:endParaRPr kumimoji="1" lang="zh-CN" altLang="en-US" sz="8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23" name="矩形 20">
            <a:extLst>
              <a:ext uri="{FF2B5EF4-FFF2-40B4-BE49-F238E27FC236}">
                <a16:creationId xmlns="" xmlns:a16="http://schemas.microsoft.com/office/drawing/2014/main" id="{5460AED6-8869-437F-924A-5746093BE729}"/>
              </a:ext>
            </a:extLst>
          </p:cNvPr>
          <p:cNvSpPr/>
          <p:nvPr/>
        </p:nvSpPr>
        <p:spPr>
          <a:xfrm>
            <a:off x="7584132" y="5407224"/>
            <a:ext cx="1890068" cy="582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t </a:t>
            </a:r>
            <a:r>
              <a:rPr lang="en-US" altLang="zh-CN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kumimoji="1" lang="zh-CN" altLang="en-US" sz="800" b="1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chronization</a:t>
            </a:r>
            <a:endParaRPr kumimoji="1" lang="zh-CN" altLang="en-US" sz="8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24" name="矩形 20">
            <a:extLst>
              <a:ext uri="{FF2B5EF4-FFF2-40B4-BE49-F238E27FC236}">
                <a16:creationId xmlns="" xmlns:a16="http://schemas.microsoft.com/office/drawing/2014/main" id="{5460AED6-8869-437F-924A-5746093BE729}"/>
              </a:ext>
            </a:extLst>
          </p:cNvPr>
          <p:cNvSpPr/>
          <p:nvPr/>
        </p:nvSpPr>
        <p:spPr>
          <a:xfrm>
            <a:off x="9596120" y="5407224"/>
            <a:ext cx="2008429" cy="582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r>
              <a:rPr lang="en-US" altLang="zh-CN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ro </a:t>
            </a:r>
            <a:r>
              <a:rPr lang="en-US" altLang="zh-CN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sure </a:t>
            </a:r>
            <a:r>
              <a:rPr lang="en-US" altLang="zh-CN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</a:t>
            </a:r>
            <a:r>
              <a:rPr lang="en-US" altLang="zh-CN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ior Platform</a:t>
            </a:r>
            <a:endParaRPr kumimoji="1" lang="zh-CN" altLang="en-US" sz="8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cxnSp>
        <p:nvCxnSpPr>
          <p:cNvPr id="102" name="直接箭头连接符 101"/>
          <p:cNvCxnSpPr/>
          <p:nvPr/>
        </p:nvCxnSpPr>
        <p:spPr>
          <a:xfrm flipH="1">
            <a:off x="3553037" y="3793169"/>
            <a:ext cx="318304" cy="134541"/>
          </a:xfrm>
          <a:prstGeom prst="straightConnector1">
            <a:avLst/>
          </a:prstGeom>
          <a:noFill/>
          <a:ln w="12700" cap="flat">
            <a:solidFill>
              <a:srgbClr val="C00000"/>
            </a:solidFill>
            <a:prstDash val="dash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797821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占位符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altLang="zh-CN" dirty="0"/>
              <a:t>Business </a:t>
            </a:r>
            <a:r>
              <a:rPr lang="en-US" altLang="zh-CN" dirty="0" smtClean="0"/>
              <a:t>Problem</a:t>
            </a:r>
            <a:endParaRPr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x-none" altLang="zh-CN" dirty="0"/>
              <a:t>Introduction of Hillstone iSource </a:t>
            </a:r>
            <a:endParaRPr lang="zh-CN" altLang="en-US" dirty="0"/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x-none" altLang="zh-CN" dirty="0"/>
              <a:t>Product Models</a:t>
            </a:r>
            <a:r>
              <a:rPr lang="en-US" altLang="zh-CN" dirty="0"/>
              <a:t> </a:t>
            </a:r>
            <a:r>
              <a:rPr lang="x-none" altLang="zh-CN" dirty="0"/>
              <a:t>&amp; Ordering Info</a:t>
            </a:r>
            <a:endParaRPr lang="zh-CN" altLang="en-US" dirty="0"/>
          </a:p>
        </p:txBody>
      </p:sp>
      <p:sp>
        <p:nvSpPr>
          <p:cNvPr id="17" name="文本占位符 16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x-none" altLang="zh-CN" dirty="0"/>
              <a:t>Deployment</a:t>
            </a:r>
            <a:r>
              <a:rPr lang="zh-CN" altLang="en-US" dirty="0"/>
              <a:t> </a:t>
            </a:r>
            <a:r>
              <a:rPr lang="en-US" altLang="zh-CN" dirty="0"/>
              <a:t>Scenarios &amp; Use </a:t>
            </a:r>
            <a:r>
              <a:rPr lang="en-US" altLang="zh-CN" dirty="0" smtClean="0"/>
              <a:t>Cases</a:t>
            </a:r>
            <a:endParaRPr lang="zh-CN" altLang="en-US" dirty="0"/>
          </a:p>
        </p:txBody>
      </p:sp>
      <p:sp>
        <p:nvSpPr>
          <p:cNvPr id="18" name="文本占位符 1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9" name="文本占位符 18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altLang="zh-CN" dirty="0" smtClean="0"/>
              <a:t>Case Studi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751043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986150F4-C1CC-485A-AC81-C97017DAE02D}"/>
              </a:ext>
            </a:extLst>
          </p:cNvPr>
          <p:cNvSpPr/>
          <p:nvPr/>
        </p:nvSpPr>
        <p:spPr>
          <a:xfrm>
            <a:off x="848942" y="1169605"/>
            <a:ext cx="5151807" cy="282561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96FA91A5-C606-4136-930A-71F26730E7D0}"/>
              </a:ext>
            </a:extLst>
          </p:cNvPr>
          <p:cNvSpPr/>
          <p:nvPr/>
        </p:nvSpPr>
        <p:spPr>
          <a:xfrm>
            <a:off x="6191250" y="1169605"/>
            <a:ext cx="5151807" cy="282561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A4046215-9572-4921-9BD8-C740462C5B0D}"/>
              </a:ext>
            </a:extLst>
          </p:cNvPr>
          <p:cNvSpPr/>
          <p:nvPr/>
        </p:nvSpPr>
        <p:spPr>
          <a:xfrm>
            <a:off x="0" y="3670849"/>
            <a:ext cx="12191994" cy="26029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23">
            <a:extLst>
              <a:ext uri="{FF2B5EF4-FFF2-40B4-BE49-F238E27FC236}">
                <a16:creationId xmlns="" xmlns:a16="http://schemas.microsoft.com/office/drawing/2014/main" id="{40F2F4EB-A75E-4519-90B1-606B918E06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943" y="3670849"/>
            <a:ext cx="5151806" cy="426442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x-none" sz="1400" b="1">
                <a:latin typeface="Arial" panose="020B0604020202020204" pitchFamily="34" charset="0"/>
                <a:cs typeface="Arial" panose="020B0604020202020204" pitchFamily="34" charset="0"/>
              </a:rPr>
              <a:t>Traffic Monitoring Overview</a:t>
            </a:r>
            <a:endParaRPr lang="x-non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"/>
                <a:cs typeface="+mn-ea"/>
                <a:sym typeface=""/>
              </a:rPr>
              <a:t>Traffic Monitoring</a:t>
            </a:r>
            <a:endParaRPr lang="en-US" dirty="0"/>
          </a:p>
        </p:txBody>
      </p:sp>
      <p:sp>
        <p:nvSpPr>
          <p:cNvPr id="37" name="TextBox 23">
            <a:extLst>
              <a:ext uri="{FF2B5EF4-FFF2-40B4-BE49-F238E27FC236}">
                <a16:creationId xmlns="" xmlns:a16="http://schemas.microsoft.com/office/drawing/2014/main" id="{E79FC865-C36F-49DA-B03B-E2F69E704C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91250" y="3670847"/>
            <a:ext cx="5151806" cy="426442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x-none" sz="1400" b="1">
                <a:latin typeface="Arial" panose="020B0604020202020204" pitchFamily="34" charset="0"/>
                <a:cs typeface="Arial" panose="020B0604020202020204" pitchFamily="34" charset="0"/>
              </a:rPr>
              <a:t>Traffic Monitoring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per Individual </a:t>
            </a:r>
            <a:r>
              <a:rPr lang="x-none" sz="1400" b="1">
                <a:latin typeface="Arial" panose="020B0604020202020204" pitchFamily="34" charset="0"/>
                <a:cs typeface="Arial" panose="020B0604020202020204" pitchFamily="34" charset="0"/>
              </a:rPr>
              <a:t>IP</a:t>
            </a:r>
            <a:endParaRPr lang="x-non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DFC01F55-21D8-4E7E-BEFB-B4E3BA84445F}"/>
              </a:ext>
            </a:extLst>
          </p:cNvPr>
          <p:cNvGrpSpPr/>
          <p:nvPr/>
        </p:nvGrpSpPr>
        <p:grpSpPr>
          <a:xfrm>
            <a:off x="830631" y="5038928"/>
            <a:ext cx="10521582" cy="871815"/>
            <a:chOff x="830631" y="5172529"/>
            <a:chExt cx="10521582" cy="738214"/>
          </a:xfrm>
        </p:grpSpPr>
        <p:sp>
          <p:nvSpPr>
            <p:cNvPr id="46" name="Content Placeholder 25">
              <a:extLst>
                <a:ext uri="{FF2B5EF4-FFF2-40B4-BE49-F238E27FC236}">
                  <a16:creationId xmlns="" xmlns:a16="http://schemas.microsoft.com/office/drawing/2014/main" id="{4A4ADF1D-14BF-4008-B6EA-EAE860A3EDE7}"/>
                </a:ext>
              </a:extLst>
            </p:cNvPr>
            <p:cNvSpPr txBox="1">
              <a:spLocks/>
            </p:cNvSpPr>
            <p:nvPr/>
          </p:nvSpPr>
          <p:spPr>
            <a:xfrm>
              <a:off x="839788" y="5577339"/>
              <a:ext cx="10512425" cy="333404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lIns="91440" tIns="45720" rIns="91440" bIns="4572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050" b="1" dirty="0">
                  <a:solidFill>
                    <a:schemeClr val="bg1"/>
                  </a:solidFill>
                </a:rPr>
                <a:t>Traffic monitoring enables </a:t>
              </a:r>
              <a:r>
                <a:rPr lang="x-none" sz="1050" b="1">
                  <a:solidFill>
                    <a:schemeClr val="bg1"/>
                  </a:solidFill>
                </a:rPr>
                <a:t>security </a:t>
              </a:r>
              <a:r>
                <a:rPr lang="x-none" sz="1050" b="1" dirty="0">
                  <a:solidFill>
                    <a:schemeClr val="bg1"/>
                  </a:solidFill>
                </a:rPr>
                <a:t>analyst to detect </a:t>
              </a:r>
              <a:r>
                <a:rPr lang="x-none" sz="1050" b="1">
                  <a:solidFill>
                    <a:schemeClr val="bg1"/>
                  </a:solidFill>
                </a:rPr>
                <a:t>network anomalies</a:t>
              </a:r>
              <a:endParaRPr lang="x-none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45" name="Content Placeholder 25">
              <a:extLst>
                <a:ext uri="{FF2B5EF4-FFF2-40B4-BE49-F238E27FC236}">
                  <a16:creationId xmlns="" xmlns:a16="http://schemas.microsoft.com/office/drawing/2014/main" id="{41E37DA3-7027-4952-9108-EF8E8A022C6A}"/>
                </a:ext>
              </a:extLst>
            </p:cNvPr>
            <p:cNvSpPr txBox="1">
              <a:spLocks/>
            </p:cNvSpPr>
            <p:nvPr/>
          </p:nvSpPr>
          <p:spPr>
            <a:xfrm>
              <a:off x="830631" y="5172529"/>
              <a:ext cx="10512425" cy="333404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lIns="91440" tIns="45720" rIns="91440" bIns="4572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003285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x-none" sz="1050" b="1" dirty="0">
                  <a:solidFill>
                    <a:schemeClr val="bg1"/>
                  </a:solidFill>
                </a:rPr>
                <a:t>Collect traffic data from the netflow and metadata of </a:t>
              </a:r>
              <a:r>
                <a:rPr lang="x-none" sz="1050" b="1" dirty="0" smtClean="0">
                  <a:solidFill>
                    <a:schemeClr val="bg1"/>
                  </a:solidFill>
                </a:rPr>
                <a:t>BDS</a:t>
              </a:r>
              <a:endParaRPr lang="x-none" sz="105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文本框 18">
            <a:extLst>
              <a:ext uri="{FF2B5EF4-FFF2-40B4-BE49-F238E27FC236}">
                <a16:creationId xmlns="" xmlns:a16="http://schemas.microsoft.com/office/drawing/2014/main" id="{C9C2B920-F980-494C-A231-FC590E03F5D2}"/>
              </a:ext>
            </a:extLst>
          </p:cNvPr>
          <p:cNvSpPr txBox="1"/>
          <p:nvPr/>
        </p:nvSpPr>
        <p:spPr>
          <a:xfrm>
            <a:off x="848944" y="4352665"/>
            <a:ext cx="515180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 address of Top 10 Traffic</a:t>
            </a:r>
            <a:b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Traffic Trends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69526A0B-9B66-4125-8535-9F1EEEF3E641}"/>
              </a:ext>
            </a:extLst>
          </p:cNvPr>
          <p:cNvSpPr txBox="1"/>
          <p:nvPr/>
        </p:nvSpPr>
        <p:spPr>
          <a:xfrm>
            <a:off x="6248401" y="4352665"/>
            <a:ext cx="50946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traffic/Traffic trends/Protocol Traffic Distribution/Associated Destination IP Activity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303476" y="1305925"/>
            <a:ext cx="4242737" cy="2346528"/>
            <a:chOff x="1303476" y="1305925"/>
            <a:chExt cx="4242737" cy="2346528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03476" y="1305925"/>
              <a:ext cx="4242737" cy="2346528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4"/>
            <a:srcRect l="6481" b="18583"/>
            <a:stretch/>
          </p:blipFill>
          <p:spPr>
            <a:xfrm>
              <a:off x="1665290" y="2273886"/>
              <a:ext cx="3600823" cy="449086"/>
            </a:xfrm>
            <a:prstGeom prst="rect">
              <a:avLst/>
            </a:prstGeom>
          </p:spPr>
        </p:pic>
      </p:grpSp>
      <p:grpSp>
        <p:nvGrpSpPr>
          <p:cNvPr id="9" name="组合 8"/>
          <p:cNvGrpSpPr/>
          <p:nvPr/>
        </p:nvGrpSpPr>
        <p:grpSpPr>
          <a:xfrm>
            <a:off x="6562219" y="1188297"/>
            <a:ext cx="4467020" cy="2481962"/>
            <a:chOff x="6562219" y="1188297"/>
            <a:chExt cx="4467020" cy="2481962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62219" y="1188297"/>
              <a:ext cx="4467020" cy="2481962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21347" y="2290240"/>
              <a:ext cx="4052012" cy="4675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442980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ym typeface=""/>
              </a:rPr>
              <a:t>Traffic Insight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92DB14B1-8BDC-4E2E-A6F8-E23AF07AEFF3}"/>
              </a:ext>
            </a:extLst>
          </p:cNvPr>
          <p:cNvSpPr/>
          <p:nvPr/>
        </p:nvSpPr>
        <p:spPr>
          <a:xfrm>
            <a:off x="593004" y="3144945"/>
            <a:ext cx="5417271" cy="2882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AC8B8DE3-704B-4034-AE28-350E1BD10EE0}"/>
              </a:ext>
            </a:extLst>
          </p:cNvPr>
          <p:cNvSpPr/>
          <p:nvPr/>
        </p:nvSpPr>
        <p:spPr>
          <a:xfrm>
            <a:off x="6187354" y="3144944"/>
            <a:ext cx="5417271" cy="2882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3A35D8D9-C784-4081-BF06-662AA598D5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978" y="3411967"/>
            <a:ext cx="4369322" cy="234885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6F25FF0E-9CF1-4683-A5A2-B8132CB7C8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8268" y="3411967"/>
            <a:ext cx="4366816" cy="2348855"/>
          </a:xfrm>
          <a:prstGeom prst="rect">
            <a:avLst/>
          </a:prstGeom>
          <a:ln>
            <a:noFill/>
          </a:ln>
          <a:effectLst/>
        </p:spPr>
      </p:pic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54F409E8-5A1B-4303-9F50-0C91E4AFB139}"/>
              </a:ext>
            </a:extLst>
          </p:cNvPr>
          <p:cNvGrpSpPr/>
          <p:nvPr/>
        </p:nvGrpSpPr>
        <p:grpSpPr>
          <a:xfrm>
            <a:off x="587374" y="1371600"/>
            <a:ext cx="11017249" cy="541480"/>
            <a:chOff x="587374" y="1469882"/>
            <a:chExt cx="6709058" cy="443198"/>
          </a:xfrm>
        </p:grpSpPr>
        <p:sp>
          <p:nvSpPr>
            <p:cNvPr id="3" name="Rectangle 2">
              <a:extLst>
                <a:ext uri="{FF2B5EF4-FFF2-40B4-BE49-F238E27FC236}">
                  <a16:creationId xmlns="" xmlns:a16="http://schemas.microsoft.com/office/drawing/2014/main" id="{4179C47E-93D9-4987-AF37-39583E616ACD}"/>
                </a:ext>
              </a:extLst>
            </p:cNvPr>
            <p:cNvSpPr/>
            <p:nvPr/>
          </p:nvSpPr>
          <p:spPr>
            <a:xfrm>
              <a:off x="587374" y="1469882"/>
              <a:ext cx="3302327" cy="44319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0" rtlCol="0" anchor="ctr"/>
            <a:lstStyle/>
            <a:p>
              <a:r>
                <a:rPr lang="en-US" altLang="zh-CN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Traffic Insight Topology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CEAD46BF-7C58-4E93-AFC7-08E9B54F4EF6}"/>
                </a:ext>
              </a:extLst>
            </p:cNvPr>
            <p:cNvSpPr/>
            <p:nvPr/>
          </p:nvSpPr>
          <p:spPr>
            <a:xfrm>
              <a:off x="3997534" y="1469882"/>
              <a:ext cx="3298898" cy="44319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0" rtlCol="0" anchor="ctr"/>
            <a:lstStyle/>
            <a:p>
              <a:r>
                <a:rPr lang="en-US" altLang="zh-CN" b="1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ssociated Threat Event</a:t>
              </a:r>
            </a:p>
          </p:txBody>
        </p:sp>
      </p:grpSp>
      <p:sp>
        <p:nvSpPr>
          <p:cNvPr id="36" name="文本框 5">
            <a:extLst>
              <a:ext uri="{FF2B5EF4-FFF2-40B4-BE49-F238E27FC236}">
                <a16:creationId xmlns="" xmlns:a16="http://schemas.microsoft.com/office/drawing/2014/main" id="{153ECE7E-DEEB-4DDF-B844-DDC17D065355}"/>
              </a:ext>
            </a:extLst>
          </p:cNvPr>
          <p:cNvSpPr txBox="1"/>
          <p:nvPr/>
        </p:nvSpPr>
        <p:spPr>
          <a:xfrm>
            <a:off x="587374" y="2077942"/>
            <a:ext cx="5422901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ts val="1500"/>
              </a:lnSpc>
              <a:defRPr sz="900"/>
            </a:lvl1pPr>
          </a:lstStyle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establishing </a:t>
            </a:r>
            <a:r>
              <a:rPr lang="en-US" altLang="zh-CN" sz="1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he insight </a:t>
            </a:r>
            <a:r>
              <a:rPr lang="en-US" altLang="zh-CN" sz="110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opology of </a:t>
            </a:r>
            <a:r>
              <a:rPr lang="en-US" altLang="zh-CN" sz="1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network flow by collecting and analyzing the traffic </a:t>
            </a:r>
            <a:endParaRPr lang="en-US" altLang="zh-CN" sz="1100" smtClean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visual inspection of abnormal </a:t>
            </a:r>
            <a:r>
              <a:rPr lang="en-US" altLang="zh-CN" sz="110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raffic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</a:t>
            </a:r>
            <a:r>
              <a:rPr lang="en-US" altLang="zh-CN" sz="1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raffic baseline </a:t>
            </a:r>
            <a:r>
              <a:rPr lang="en-US" altLang="zh-CN" sz="110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learning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</a:t>
            </a:r>
            <a:r>
              <a:rPr lang="en-US" altLang="zh-CN" sz="110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pplication identification in traffic</a:t>
            </a:r>
          </a:p>
        </p:txBody>
      </p:sp>
      <p:sp>
        <p:nvSpPr>
          <p:cNvPr id="37" name="文本框 10">
            <a:extLst>
              <a:ext uri="{FF2B5EF4-FFF2-40B4-BE49-F238E27FC236}">
                <a16:creationId xmlns="" xmlns:a16="http://schemas.microsoft.com/office/drawing/2014/main" id="{48B9B2B5-53D8-49E7-B9D0-BB4097319575}"/>
              </a:ext>
            </a:extLst>
          </p:cNvPr>
          <p:cNvSpPr txBox="1"/>
          <p:nvPr/>
        </p:nvSpPr>
        <p:spPr>
          <a:xfrm>
            <a:off x="6187353" y="2077942"/>
            <a:ext cx="5135825" cy="3898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ts val="1500"/>
              </a:lnSpc>
              <a:defRPr sz="900"/>
            </a:lvl1pPr>
          </a:lstStyle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directing to the associated threat event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threat information view and policy distribution</a:t>
            </a:r>
          </a:p>
        </p:txBody>
      </p:sp>
      <p:sp>
        <p:nvSpPr>
          <p:cNvPr id="39" name="椭圆 7">
            <a:extLst>
              <a:ext uri="{FF2B5EF4-FFF2-40B4-BE49-F238E27FC236}">
                <a16:creationId xmlns="" xmlns:a16="http://schemas.microsoft.com/office/drawing/2014/main" id="{7FB29455-87C0-4F22-B49F-4A3EF9F9AA55}"/>
              </a:ext>
            </a:extLst>
          </p:cNvPr>
          <p:cNvSpPr/>
          <p:nvPr/>
        </p:nvSpPr>
        <p:spPr>
          <a:xfrm>
            <a:off x="781712" y="1437241"/>
            <a:ext cx="410200" cy="410198"/>
          </a:xfrm>
          <a:prstGeom prst="ellipse">
            <a:avLst/>
          </a:prstGeom>
          <a:solidFill>
            <a:schemeClr val="bg1"/>
          </a:solidFill>
          <a:ln w="5715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3765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1" name="任意多边形 5">
            <a:extLst>
              <a:ext uri="{FF2B5EF4-FFF2-40B4-BE49-F238E27FC236}">
                <a16:creationId xmlns="" xmlns:a16="http://schemas.microsoft.com/office/drawing/2014/main" id="{6D9CAF0E-61F0-4FFB-9EA3-A0F61C2EBF4E}"/>
              </a:ext>
            </a:extLst>
          </p:cNvPr>
          <p:cNvSpPr/>
          <p:nvPr/>
        </p:nvSpPr>
        <p:spPr>
          <a:xfrm>
            <a:off x="867268" y="1557591"/>
            <a:ext cx="239088" cy="179314"/>
          </a:xfrm>
          <a:custGeom>
            <a:avLst/>
            <a:gdLst>
              <a:gd name="connsiteX0" fmla="*/ 505433 w 533400"/>
              <a:gd name="connsiteY0" fmla="*/ 621 h 400050"/>
              <a:gd name="connsiteX1" fmla="*/ 534008 w 533400"/>
              <a:gd name="connsiteY1" fmla="*/ 29196 h 400050"/>
              <a:gd name="connsiteX2" fmla="*/ 534008 w 533400"/>
              <a:gd name="connsiteY2" fmla="*/ 372096 h 400050"/>
              <a:gd name="connsiteX3" fmla="*/ 505433 w 533400"/>
              <a:gd name="connsiteY3" fmla="*/ 400671 h 400050"/>
              <a:gd name="connsiteX4" fmla="*/ 29183 w 533400"/>
              <a:gd name="connsiteY4" fmla="*/ 400671 h 400050"/>
              <a:gd name="connsiteX5" fmla="*/ 608 w 533400"/>
              <a:gd name="connsiteY5" fmla="*/ 372096 h 400050"/>
              <a:gd name="connsiteX6" fmla="*/ 608 w 533400"/>
              <a:gd name="connsiteY6" fmla="*/ 29196 h 400050"/>
              <a:gd name="connsiteX7" fmla="*/ 29183 w 533400"/>
              <a:gd name="connsiteY7" fmla="*/ 621 h 400050"/>
              <a:gd name="connsiteX8" fmla="*/ 505433 w 533400"/>
              <a:gd name="connsiteY8" fmla="*/ 621 h 400050"/>
              <a:gd name="connsiteX9" fmla="*/ 391419 w 533400"/>
              <a:gd name="connsiteY9" fmla="*/ 198646 h 400050"/>
              <a:gd name="connsiteX10" fmla="*/ 351414 w 533400"/>
              <a:gd name="connsiteY10" fmla="*/ 204170 h 400050"/>
              <a:gd name="connsiteX11" fmla="*/ 351414 w 533400"/>
              <a:gd name="connsiteY11" fmla="*/ 204170 h 400050"/>
              <a:gd name="connsiteX12" fmla="*/ 267118 w 533400"/>
              <a:gd name="connsiteY12" fmla="*/ 315613 h 400050"/>
              <a:gd name="connsiteX13" fmla="*/ 264641 w 533400"/>
              <a:gd name="connsiteY13" fmla="*/ 318470 h 400050"/>
              <a:gd name="connsiteX14" fmla="*/ 224255 w 533400"/>
              <a:gd name="connsiteY14" fmla="*/ 318756 h 400050"/>
              <a:gd name="connsiteX15" fmla="*/ 224255 w 533400"/>
              <a:gd name="connsiteY15" fmla="*/ 318756 h 400050"/>
              <a:gd name="connsiteX16" fmla="*/ 162152 w 533400"/>
              <a:gd name="connsiteY16" fmla="*/ 257415 h 400050"/>
              <a:gd name="connsiteX17" fmla="*/ 160247 w 533400"/>
              <a:gd name="connsiteY17" fmla="*/ 255701 h 400050"/>
              <a:gd name="connsiteX18" fmla="*/ 120052 w 533400"/>
              <a:gd name="connsiteY18" fmla="*/ 259606 h 400050"/>
              <a:gd name="connsiteX19" fmla="*/ 120052 w 533400"/>
              <a:gd name="connsiteY19" fmla="*/ 259606 h 400050"/>
              <a:gd name="connsiteX20" fmla="*/ 32517 w 533400"/>
              <a:gd name="connsiteY20" fmla="*/ 366095 h 400050"/>
              <a:gd name="connsiteX21" fmla="*/ 30326 w 533400"/>
              <a:gd name="connsiteY21" fmla="*/ 372096 h 400050"/>
              <a:gd name="connsiteX22" fmla="*/ 39851 w 533400"/>
              <a:gd name="connsiteY22" fmla="*/ 381621 h 400050"/>
              <a:gd name="connsiteX23" fmla="*/ 39851 w 533400"/>
              <a:gd name="connsiteY23" fmla="*/ 381621 h 400050"/>
              <a:gd name="connsiteX24" fmla="*/ 497242 w 533400"/>
              <a:gd name="connsiteY24" fmla="*/ 381621 h 400050"/>
              <a:gd name="connsiteX25" fmla="*/ 502480 w 533400"/>
              <a:gd name="connsiteY25" fmla="*/ 380002 h 400050"/>
              <a:gd name="connsiteX26" fmla="*/ 505147 w 533400"/>
              <a:gd name="connsiteY26" fmla="*/ 366762 h 400050"/>
              <a:gd name="connsiteX27" fmla="*/ 505147 w 533400"/>
              <a:gd name="connsiteY27" fmla="*/ 366762 h 400050"/>
              <a:gd name="connsiteX28" fmla="*/ 397991 w 533400"/>
              <a:gd name="connsiteY28" fmla="*/ 205504 h 400050"/>
              <a:gd name="connsiteX29" fmla="*/ 391419 w 533400"/>
              <a:gd name="connsiteY29" fmla="*/ 198646 h 400050"/>
              <a:gd name="connsiteX30" fmla="*/ 95858 w 533400"/>
              <a:gd name="connsiteY30" fmla="*/ 57771 h 400050"/>
              <a:gd name="connsiteX31" fmla="*/ 57758 w 533400"/>
              <a:gd name="connsiteY31" fmla="*/ 95871 h 400050"/>
              <a:gd name="connsiteX32" fmla="*/ 95858 w 533400"/>
              <a:gd name="connsiteY32" fmla="*/ 133971 h 400050"/>
              <a:gd name="connsiteX33" fmla="*/ 133958 w 533400"/>
              <a:gd name="connsiteY33" fmla="*/ 95871 h 400050"/>
              <a:gd name="connsiteX34" fmla="*/ 95858 w 533400"/>
              <a:gd name="connsiteY34" fmla="*/ 57771 h 40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33400" h="400050">
                <a:moveTo>
                  <a:pt x="505433" y="621"/>
                </a:moveTo>
                <a:cubicBezTo>
                  <a:pt x="521245" y="621"/>
                  <a:pt x="534008" y="13385"/>
                  <a:pt x="534008" y="29196"/>
                </a:cubicBezTo>
                <a:lnTo>
                  <a:pt x="534008" y="372096"/>
                </a:lnTo>
                <a:cubicBezTo>
                  <a:pt x="534008" y="387907"/>
                  <a:pt x="521245" y="400671"/>
                  <a:pt x="505433" y="400671"/>
                </a:cubicBezTo>
                <a:lnTo>
                  <a:pt x="29183" y="400671"/>
                </a:lnTo>
                <a:cubicBezTo>
                  <a:pt x="13371" y="400671"/>
                  <a:pt x="608" y="387907"/>
                  <a:pt x="608" y="372096"/>
                </a:cubicBezTo>
                <a:lnTo>
                  <a:pt x="608" y="29196"/>
                </a:lnTo>
                <a:cubicBezTo>
                  <a:pt x="608" y="13385"/>
                  <a:pt x="13371" y="621"/>
                  <a:pt x="29183" y="621"/>
                </a:cubicBezTo>
                <a:lnTo>
                  <a:pt x="505433" y="621"/>
                </a:lnTo>
                <a:close/>
                <a:moveTo>
                  <a:pt x="391419" y="198646"/>
                </a:moveTo>
                <a:cubicBezTo>
                  <a:pt x="378846" y="189121"/>
                  <a:pt x="360939" y="191597"/>
                  <a:pt x="351414" y="204170"/>
                </a:cubicBezTo>
                <a:lnTo>
                  <a:pt x="351414" y="204170"/>
                </a:lnTo>
                <a:lnTo>
                  <a:pt x="267118" y="315613"/>
                </a:lnTo>
                <a:cubicBezTo>
                  <a:pt x="266355" y="316660"/>
                  <a:pt x="265498" y="317518"/>
                  <a:pt x="264641" y="318470"/>
                </a:cubicBezTo>
                <a:cubicBezTo>
                  <a:pt x="253592" y="329710"/>
                  <a:pt x="235495" y="329805"/>
                  <a:pt x="224255" y="318756"/>
                </a:cubicBezTo>
                <a:lnTo>
                  <a:pt x="224255" y="318756"/>
                </a:lnTo>
                <a:lnTo>
                  <a:pt x="162152" y="257415"/>
                </a:lnTo>
                <a:cubicBezTo>
                  <a:pt x="161485" y="256844"/>
                  <a:pt x="160914" y="256177"/>
                  <a:pt x="160247" y="255701"/>
                </a:cubicBezTo>
                <a:cubicBezTo>
                  <a:pt x="148055" y="245699"/>
                  <a:pt x="130053" y="247414"/>
                  <a:pt x="120052" y="259606"/>
                </a:cubicBezTo>
                <a:lnTo>
                  <a:pt x="120052" y="259606"/>
                </a:lnTo>
                <a:lnTo>
                  <a:pt x="32517" y="366095"/>
                </a:lnTo>
                <a:cubicBezTo>
                  <a:pt x="31088" y="367810"/>
                  <a:pt x="30326" y="369905"/>
                  <a:pt x="30326" y="372096"/>
                </a:cubicBezTo>
                <a:cubicBezTo>
                  <a:pt x="30326" y="377335"/>
                  <a:pt x="34612" y="381621"/>
                  <a:pt x="39851" y="381621"/>
                </a:cubicBezTo>
                <a:lnTo>
                  <a:pt x="39851" y="381621"/>
                </a:lnTo>
                <a:lnTo>
                  <a:pt x="497242" y="381621"/>
                </a:lnTo>
                <a:cubicBezTo>
                  <a:pt x="499146" y="381621"/>
                  <a:pt x="500956" y="381050"/>
                  <a:pt x="502480" y="380002"/>
                </a:cubicBezTo>
                <a:cubicBezTo>
                  <a:pt x="506862" y="377049"/>
                  <a:pt x="508005" y="371144"/>
                  <a:pt x="505147" y="366762"/>
                </a:cubicBezTo>
                <a:lnTo>
                  <a:pt x="505147" y="366762"/>
                </a:lnTo>
                <a:lnTo>
                  <a:pt x="397991" y="205504"/>
                </a:lnTo>
                <a:cubicBezTo>
                  <a:pt x="396181" y="202932"/>
                  <a:pt x="393990" y="200551"/>
                  <a:pt x="391419" y="198646"/>
                </a:cubicBezTo>
                <a:close/>
                <a:moveTo>
                  <a:pt x="95858" y="57771"/>
                </a:moveTo>
                <a:cubicBezTo>
                  <a:pt x="74808" y="57771"/>
                  <a:pt x="57758" y="74821"/>
                  <a:pt x="57758" y="95871"/>
                </a:cubicBezTo>
                <a:cubicBezTo>
                  <a:pt x="57758" y="116921"/>
                  <a:pt x="74808" y="133971"/>
                  <a:pt x="95858" y="133971"/>
                </a:cubicBezTo>
                <a:cubicBezTo>
                  <a:pt x="116908" y="133971"/>
                  <a:pt x="133958" y="116921"/>
                  <a:pt x="133958" y="95871"/>
                </a:cubicBezTo>
                <a:cubicBezTo>
                  <a:pt x="133958" y="74821"/>
                  <a:pt x="116908" y="57771"/>
                  <a:pt x="95858" y="57771"/>
                </a:cubicBezTo>
                <a:close/>
              </a:path>
            </a:pathLst>
          </a:custGeom>
          <a:solidFill>
            <a:schemeClr val="tx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2" name="椭圆 7">
            <a:extLst>
              <a:ext uri="{FF2B5EF4-FFF2-40B4-BE49-F238E27FC236}">
                <a16:creationId xmlns="" xmlns:a16="http://schemas.microsoft.com/office/drawing/2014/main" id="{19174CD1-C90C-4404-9DB2-ADA3FD429917}"/>
              </a:ext>
            </a:extLst>
          </p:cNvPr>
          <p:cNvSpPr/>
          <p:nvPr/>
        </p:nvSpPr>
        <p:spPr>
          <a:xfrm>
            <a:off x="6378242" y="1437241"/>
            <a:ext cx="410200" cy="410198"/>
          </a:xfrm>
          <a:prstGeom prst="ellipse">
            <a:avLst/>
          </a:prstGeom>
          <a:solidFill>
            <a:schemeClr val="bg1"/>
          </a:solidFill>
          <a:ln w="5715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3765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6" name="任意多边形 36">
            <a:extLst>
              <a:ext uri="{FF2B5EF4-FFF2-40B4-BE49-F238E27FC236}">
                <a16:creationId xmlns="" xmlns:a16="http://schemas.microsoft.com/office/drawing/2014/main" id="{CB58B75F-BD14-4A23-841A-ADF04D1E2FD1}"/>
              </a:ext>
            </a:extLst>
          </p:cNvPr>
          <p:cNvSpPr/>
          <p:nvPr/>
        </p:nvSpPr>
        <p:spPr>
          <a:xfrm>
            <a:off x="6482692" y="1532011"/>
            <a:ext cx="201300" cy="220657"/>
          </a:xfrm>
          <a:custGeom>
            <a:avLst/>
            <a:gdLst>
              <a:gd name="connsiteX0" fmla="*/ 248770 w 495300"/>
              <a:gd name="connsiteY0" fmla="*/ 621 h 542925"/>
              <a:gd name="connsiteX1" fmla="*/ 496420 w 495300"/>
              <a:gd name="connsiteY1" fmla="*/ 248271 h 542925"/>
              <a:gd name="connsiteX2" fmla="*/ 323827 w 495300"/>
              <a:gd name="connsiteY2" fmla="*/ 484396 h 542925"/>
              <a:gd name="connsiteX3" fmla="*/ 346973 w 495300"/>
              <a:gd name="connsiteY3" fmla="*/ 524496 h 542925"/>
              <a:gd name="connsiteX4" fmla="*/ 420220 w 495300"/>
              <a:gd name="connsiteY4" fmla="*/ 524496 h 542925"/>
              <a:gd name="connsiteX5" fmla="*/ 420220 w 495300"/>
              <a:gd name="connsiteY5" fmla="*/ 543546 h 542925"/>
              <a:gd name="connsiteX6" fmla="*/ 77320 w 495300"/>
              <a:gd name="connsiteY6" fmla="*/ 543546 h 542925"/>
              <a:gd name="connsiteX7" fmla="*/ 77320 w 495300"/>
              <a:gd name="connsiteY7" fmla="*/ 524496 h 542925"/>
              <a:gd name="connsiteX8" fmla="*/ 150567 w 495300"/>
              <a:gd name="connsiteY8" fmla="*/ 524496 h 542925"/>
              <a:gd name="connsiteX9" fmla="*/ 173713 w 495300"/>
              <a:gd name="connsiteY9" fmla="*/ 484396 h 542925"/>
              <a:gd name="connsiteX10" fmla="*/ 1120 w 495300"/>
              <a:gd name="connsiteY10" fmla="*/ 248271 h 542925"/>
              <a:gd name="connsiteX11" fmla="*/ 248770 w 495300"/>
              <a:gd name="connsiteY11" fmla="*/ 621 h 542925"/>
              <a:gd name="connsiteX12" fmla="*/ 192763 w 495300"/>
              <a:gd name="connsiteY12" fmla="*/ 489539 h 542925"/>
              <a:gd name="connsiteX13" fmla="*/ 172570 w 495300"/>
              <a:gd name="connsiteY13" fmla="*/ 524496 h 542925"/>
              <a:gd name="connsiteX14" fmla="*/ 324970 w 495300"/>
              <a:gd name="connsiteY14" fmla="*/ 524496 h 542925"/>
              <a:gd name="connsiteX15" fmla="*/ 304777 w 495300"/>
              <a:gd name="connsiteY15" fmla="*/ 489539 h 542925"/>
              <a:gd name="connsiteX16" fmla="*/ 248770 w 495300"/>
              <a:gd name="connsiteY16" fmla="*/ 495921 h 542925"/>
              <a:gd name="connsiteX17" fmla="*/ 192763 w 495300"/>
              <a:gd name="connsiteY17" fmla="*/ 489539 h 542925"/>
              <a:gd name="connsiteX18" fmla="*/ 248770 w 495300"/>
              <a:gd name="connsiteY18" fmla="*/ 143496 h 542925"/>
              <a:gd name="connsiteX19" fmla="*/ 143995 w 495300"/>
              <a:gd name="connsiteY19" fmla="*/ 248271 h 542925"/>
              <a:gd name="connsiteX20" fmla="*/ 248770 w 495300"/>
              <a:gd name="connsiteY20" fmla="*/ 353046 h 542925"/>
              <a:gd name="connsiteX21" fmla="*/ 353545 w 495300"/>
              <a:gd name="connsiteY21" fmla="*/ 248271 h 542925"/>
              <a:gd name="connsiteX22" fmla="*/ 248770 w 495300"/>
              <a:gd name="connsiteY22" fmla="*/ 143496 h 542925"/>
              <a:gd name="connsiteX23" fmla="*/ 367833 w 495300"/>
              <a:gd name="connsiteY23" fmla="*/ 114921 h 542925"/>
              <a:gd name="connsiteX24" fmla="*/ 353545 w 495300"/>
              <a:gd name="connsiteY24" fmla="*/ 129209 h 542925"/>
              <a:gd name="connsiteX25" fmla="*/ 367833 w 495300"/>
              <a:gd name="connsiteY25" fmla="*/ 143496 h 542925"/>
              <a:gd name="connsiteX26" fmla="*/ 382120 w 495300"/>
              <a:gd name="connsiteY26" fmla="*/ 129209 h 542925"/>
              <a:gd name="connsiteX27" fmla="*/ 367833 w 495300"/>
              <a:gd name="connsiteY27" fmla="*/ 114921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8770" y="621"/>
                </a:moveTo>
                <a:cubicBezTo>
                  <a:pt x="385549" y="621"/>
                  <a:pt x="496420" y="111492"/>
                  <a:pt x="496420" y="248271"/>
                </a:cubicBezTo>
                <a:cubicBezTo>
                  <a:pt x="496420" y="358856"/>
                  <a:pt x="423935" y="452582"/>
                  <a:pt x="323827" y="484396"/>
                </a:cubicBezTo>
                <a:lnTo>
                  <a:pt x="346973" y="524496"/>
                </a:lnTo>
                <a:lnTo>
                  <a:pt x="420220" y="524496"/>
                </a:lnTo>
                <a:lnTo>
                  <a:pt x="420220" y="543546"/>
                </a:lnTo>
                <a:lnTo>
                  <a:pt x="77320" y="543546"/>
                </a:lnTo>
                <a:lnTo>
                  <a:pt x="77320" y="524496"/>
                </a:lnTo>
                <a:lnTo>
                  <a:pt x="150567" y="524496"/>
                </a:lnTo>
                <a:lnTo>
                  <a:pt x="173713" y="484396"/>
                </a:lnTo>
                <a:cubicBezTo>
                  <a:pt x="73605" y="452582"/>
                  <a:pt x="1120" y="358856"/>
                  <a:pt x="1120" y="248271"/>
                </a:cubicBezTo>
                <a:cubicBezTo>
                  <a:pt x="1120" y="111492"/>
                  <a:pt x="111991" y="621"/>
                  <a:pt x="248770" y="621"/>
                </a:cubicBezTo>
                <a:close/>
                <a:moveTo>
                  <a:pt x="192763" y="489539"/>
                </a:moveTo>
                <a:lnTo>
                  <a:pt x="172570" y="524496"/>
                </a:lnTo>
                <a:lnTo>
                  <a:pt x="324970" y="524496"/>
                </a:lnTo>
                <a:lnTo>
                  <a:pt x="304777" y="489539"/>
                </a:lnTo>
                <a:cubicBezTo>
                  <a:pt x="286775" y="493730"/>
                  <a:pt x="268010" y="495921"/>
                  <a:pt x="248770" y="495921"/>
                </a:cubicBezTo>
                <a:cubicBezTo>
                  <a:pt x="229530" y="495921"/>
                  <a:pt x="210765" y="493730"/>
                  <a:pt x="192763" y="489539"/>
                </a:cubicBezTo>
                <a:close/>
                <a:moveTo>
                  <a:pt x="248770" y="143496"/>
                </a:moveTo>
                <a:cubicBezTo>
                  <a:pt x="190858" y="143496"/>
                  <a:pt x="143995" y="190359"/>
                  <a:pt x="143995" y="248271"/>
                </a:cubicBezTo>
                <a:cubicBezTo>
                  <a:pt x="143995" y="306183"/>
                  <a:pt x="190858" y="353046"/>
                  <a:pt x="248770" y="353046"/>
                </a:cubicBezTo>
                <a:cubicBezTo>
                  <a:pt x="306682" y="353046"/>
                  <a:pt x="353545" y="306183"/>
                  <a:pt x="353545" y="248271"/>
                </a:cubicBezTo>
                <a:cubicBezTo>
                  <a:pt x="353545" y="190359"/>
                  <a:pt x="306682" y="143496"/>
                  <a:pt x="248770" y="143496"/>
                </a:cubicBezTo>
                <a:close/>
                <a:moveTo>
                  <a:pt x="367833" y="114921"/>
                </a:moveTo>
                <a:cubicBezTo>
                  <a:pt x="359927" y="114921"/>
                  <a:pt x="353545" y="121303"/>
                  <a:pt x="353545" y="129209"/>
                </a:cubicBezTo>
                <a:cubicBezTo>
                  <a:pt x="353545" y="137114"/>
                  <a:pt x="359927" y="143496"/>
                  <a:pt x="367833" y="143496"/>
                </a:cubicBezTo>
                <a:cubicBezTo>
                  <a:pt x="375738" y="143496"/>
                  <a:pt x="382120" y="137114"/>
                  <a:pt x="382120" y="129209"/>
                </a:cubicBezTo>
                <a:cubicBezTo>
                  <a:pt x="382120" y="121303"/>
                  <a:pt x="375738" y="114921"/>
                  <a:pt x="367833" y="114921"/>
                </a:cubicBezTo>
                <a:close/>
              </a:path>
            </a:pathLst>
          </a:custGeom>
          <a:solidFill>
            <a:schemeClr val="bg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4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7388755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2BDFE16B-11C5-40EF-A1F2-FC59FF8AA4DF}"/>
              </a:ext>
            </a:extLst>
          </p:cNvPr>
          <p:cNvSpPr/>
          <p:nvPr/>
        </p:nvSpPr>
        <p:spPr>
          <a:xfrm>
            <a:off x="-3698" y="5463927"/>
            <a:ext cx="12192000" cy="71558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8763A386-2060-4B0B-8CDB-7334F5595C97}"/>
              </a:ext>
            </a:extLst>
          </p:cNvPr>
          <p:cNvSpPr/>
          <p:nvPr/>
        </p:nvSpPr>
        <p:spPr>
          <a:xfrm>
            <a:off x="-3698" y="1180673"/>
            <a:ext cx="12192000" cy="711805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Threat Management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D87CDA5C-A923-458D-84D7-35A0644C4F58}"/>
              </a:ext>
            </a:extLst>
          </p:cNvPr>
          <p:cNvGrpSpPr/>
          <p:nvPr/>
        </p:nvGrpSpPr>
        <p:grpSpPr>
          <a:xfrm>
            <a:off x="593004" y="5584832"/>
            <a:ext cx="11011621" cy="404054"/>
            <a:chOff x="143376" y="7249545"/>
            <a:chExt cx="11403700" cy="482409"/>
          </a:xfrm>
        </p:grpSpPr>
        <p:sp>
          <p:nvSpPr>
            <p:cNvPr id="17" name="矩形: 圆角 10">
              <a:extLst>
                <a:ext uri="{FF2B5EF4-FFF2-40B4-BE49-F238E27FC236}">
                  <a16:creationId xmlns="" xmlns:a16="http://schemas.microsoft.com/office/drawing/2014/main" id="{FC6BE45B-379E-4D7B-A5D3-06760FF7696D}"/>
                </a:ext>
              </a:extLst>
            </p:cNvPr>
            <p:cNvSpPr/>
            <p:nvPr/>
          </p:nvSpPr>
          <p:spPr>
            <a:xfrm>
              <a:off x="2091131" y="7249545"/>
              <a:ext cx="1664929" cy="482409"/>
            </a:xfrm>
            <a:prstGeom prst="roundRect">
              <a:avLst/>
            </a:prstGeom>
            <a:solidFill>
              <a:srgbClr val="0070C0"/>
            </a:solidFill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Logs</a:t>
              </a:r>
            </a:p>
          </p:txBody>
        </p:sp>
        <p:sp>
          <p:nvSpPr>
            <p:cNvPr id="19" name="矩形: 圆角 11">
              <a:extLst>
                <a:ext uri="{FF2B5EF4-FFF2-40B4-BE49-F238E27FC236}">
                  <a16:creationId xmlns="" xmlns:a16="http://schemas.microsoft.com/office/drawing/2014/main" id="{D3B226A4-0D6D-4B22-914D-C7B6E839CE41}"/>
                </a:ext>
              </a:extLst>
            </p:cNvPr>
            <p:cNvSpPr/>
            <p:nvPr/>
          </p:nvSpPr>
          <p:spPr>
            <a:xfrm>
              <a:off x="143376" y="7249545"/>
              <a:ext cx="1664929" cy="482409"/>
            </a:xfrm>
            <a:prstGeom prst="roundRect">
              <a:avLst/>
            </a:prstGeom>
            <a:solidFill>
              <a:srgbClr val="0070C0"/>
            </a:solidFill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Traffic</a:t>
              </a:r>
            </a:p>
          </p:txBody>
        </p:sp>
        <p:sp>
          <p:nvSpPr>
            <p:cNvPr id="21" name="矩形: 圆角 14">
              <a:extLst>
                <a:ext uri="{FF2B5EF4-FFF2-40B4-BE49-F238E27FC236}">
                  <a16:creationId xmlns="" xmlns:a16="http://schemas.microsoft.com/office/drawing/2014/main" id="{1D5C9DB3-8F21-49DC-95E5-FEAEB7F8E6E1}"/>
                </a:ext>
              </a:extLst>
            </p:cNvPr>
            <p:cNvSpPr/>
            <p:nvPr/>
          </p:nvSpPr>
          <p:spPr>
            <a:xfrm>
              <a:off x="4038886" y="7249545"/>
              <a:ext cx="1664928" cy="482409"/>
            </a:xfrm>
            <a:prstGeom prst="roundRect">
              <a:avLst/>
            </a:prstGeom>
            <a:solidFill>
              <a:srgbClr val="0070C0"/>
            </a:solidFill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ssets</a:t>
              </a:r>
            </a:p>
          </p:txBody>
        </p:sp>
        <p:sp>
          <p:nvSpPr>
            <p:cNvPr id="22" name="矩形: 圆角 15">
              <a:extLst>
                <a:ext uri="{FF2B5EF4-FFF2-40B4-BE49-F238E27FC236}">
                  <a16:creationId xmlns="" xmlns:a16="http://schemas.microsoft.com/office/drawing/2014/main" id="{A770BEA0-A554-4B6D-9BE2-5BA3CA299D24}"/>
                </a:ext>
              </a:extLst>
            </p:cNvPr>
            <p:cNvSpPr/>
            <p:nvPr/>
          </p:nvSpPr>
          <p:spPr>
            <a:xfrm>
              <a:off x="5986640" y="7249545"/>
              <a:ext cx="1664928" cy="482409"/>
            </a:xfrm>
            <a:prstGeom prst="roundRect">
              <a:avLst/>
            </a:prstGeom>
            <a:solidFill>
              <a:srgbClr val="0070C0"/>
            </a:solidFill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Vulnerabilities</a:t>
              </a:r>
            </a:p>
          </p:txBody>
        </p:sp>
        <p:sp>
          <p:nvSpPr>
            <p:cNvPr id="23" name="矩形: 圆角 16">
              <a:extLst>
                <a:ext uri="{FF2B5EF4-FFF2-40B4-BE49-F238E27FC236}">
                  <a16:creationId xmlns="" xmlns:a16="http://schemas.microsoft.com/office/drawing/2014/main" id="{AA837916-0968-4425-9CC4-18681C02A8DE}"/>
                </a:ext>
              </a:extLst>
            </p:cNvPr>
            <p:cNvSpPr/>
            <p:nvPr/>
          </p:nvSpPr>
          <p:spPr>
            <a:xfrm>
              <a:off x="9882147" y="7249545"/>
              <a:ext cx="1664929" cy="482409"/>
            </a:xfrm>
            <a:prstGeom prst="roundRect">
              <a:avLst/>
            </a:prstGeom>
            <a:solidFill>
              <a:srgbClr val="0070C0"/>
            </a:solidFill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Intelligence</a:t>
              </a:r>
            </a:p>
          </p:txBody>
        </p:sp>
        <p:sp>
          <p:nvSpPr>
            <p:cNvPr id="24" name="矩形: 圆角 17">
              <a:extLst>
                <a:ext uri="{FF2B5EF4-FFF2-40B4-BE49-F238E27FC236}">
                  <a16:creationId xmlns="" xmlns:a16="http://schemas.microsoft.com/office/drawing/2014/main" id="{A5CD5AD7-6012-43C5-A143-476BB39A494C}"/>
                </a:ext>
              </a:extLst>
            </p:cNvPr>
            <p:cNvSpPr/>
            <p:nvPr/>
          </p:nvSpPr>
          <p:spPr>
            <a:xfrm>
              <a:off x="7934394" y="7249545"/>
              <a:ext cx="1664929" cy="482409"/>
            </a:xfrm>
            <a:prstGeom prst="roundRect">
              <a:avLst/>
            </a:prstGeom>
            <a:solidFill>
              <a:srgbClr val="0070C0"/>
            </a:solidFill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Users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75DA2518-C19A-440B-9B98-79BCBBF9725F}"/>
              </a:ext>
            </a:extLst>
          </p:cNvPr>
          <p:cNvSpPr/>
          <p:nvPr/>
        </p:nvSpPr>
        <p:spPr>
          <a:xfrm>
            <a:off x="587376" y="2124520"/>
            <a:ext cx="3492499" cy="311308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80CFC928-C53E-44D1-955A-2136A5225715}"/>
              </a:ext>
            </a:extLst>
          </p:cNvPr>
          <p:cNvSpPr/>
          <p:nvPr/>
        </p:nvSpPr>
        <p:spPr>
          <a:xfrm>
            <a:off x="4349750" y="2124520"/>
            <a:ext cx="3492499" cy="311308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90810512-C315-4DAA-AE40-206DE2051DF0}"/>
              </a:ext>
            </a:extLst>
          </p:cNvPr>
          <p:cNvSpPr/>
          <p:nvPr/>
        </p:nvSpPr>
        <p:spPr>
          <a:xfrm>
            <a:off x="8109720" y="2124520"/>
            <a:ext cx="3492499" cy="311308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ctr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D" sz="10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矩形: 圆角 11">
            <a:extLst>
              <a:ext uri="{FF2B5EF4-FFF2-40B4-BE49-F238E27FC236}">
                <a16:creationId xmlns="" xmlns:a16="http://schemas.microsoft.com/office/drawing/2014/main" id="{126E277D-14FA-408A-8599-746A80AB87C8}"/>
              </a:ext>
            </a:extLst>
          </p:cNvPr>
          <p:cNvSpPr/>
          <p:nvPr/>
        </p:nvSpPr>
        <p:spPr>
          <a:xfrm>
            <a:off x="593004" y="2124520"/>
            <a:ext cx="3488474" cy="443198"/>
          </a:xfrm>
          <a:prstGeom prst="roundRect">
            <a:avLst>
              <a:gd name="adj" fmla="val 0"/>
            </a:avLst>
          </a:prstGeom>
          <a:solidFill>
            <a:srgbClr val="0070C0"/>
          </a:solidFill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x-none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at</a:t>
            </a:r>
            <a:r>
              <a:rPr lang="zh-CN" alt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x-non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: 圆角 11">
            <a:extLst>
              <a:ext uri="{FF2B5EF4-FFF2-40B4-BE49-F238E27FC236}">
                <a16:creationId xmlns="" xmlns:a16="http://schemas.microsoft.com/office/drawing/2014/main" id="{14430FEF-922A-4830-9521-B33354C175F6}"/>
              </a:ext>
            </a:extLst>
          </p:cNvPr>
          <p:cNvSpPr/>
          <p:nvPr/>
        </p:nvSpPr>
        <p:spPr>
          <a:xfrm>
            <a:off x="4348147" y="2124520"/>
            <a:ext cx="3494904" cy="443198"/>
          </a:xfrm>
          <a:prstGeom prst="roundRect">
            <a:avLst>
              <a:gd name="adj" fmla="val 0"/>
            </a:avLst>
          </a:prstGeom>
          <a:solidFill>
            <a:srgbClr val="0070C0"/>
          </a:solidFill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</a:pPr>
            <a:r>
              <a:rPr lang="x-none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at</a:t>
            </a:r>
            <a:r>
              <a:rPr lang="zh-CN" alt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endParaRPr lang="x-non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: 圆角 11">
            <a:extLst>
              <a:ext uri="{FF2B5EF4-FFF2-40B4-BE49-F238E27FC236}">
                <a16:creationId xmlns="" xmlns:a16="http://schemas.microsoft.com/office/drawing/2014/main" id="{461F3BB9-A346-4402-997D-D4061777877A}"/>
              </a:ext>
            </a:extLst>
          </p:cNvPr>
          <p:cNvSpPr/>
          <p:nvPr/>
        </p:nvSpPr>
        <p:spPr>
          <a:xfrm>
            <a:off x="8109720" y="2124520"/>
            <a:ext cx="3494907" cy="443198"/>
          </a:xfrm>
          <a:prstGeom prst="roundRect">
            <a:avLst>
              <a:gd name="adj" fmla="val 0"/>
            </a:avLst>
          </a:prstGeom>
          <a:solidFill>
            <a:srgbClr val="0070C0"/>
          </a:solidFill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x-none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at</a:t>
            </a:r>
            <a:r>
              <a:rPr lang="zh-CN" alt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</a:t>
            </a:r>
            <a:endParaRPr lang="x-non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ntent Placeholder 11">
            <a:extLst>
              <a:ext uri="{FF2B5EF4-FFF2-40B4-BE49-F238E27FC236}">
                <a16:creationId xmlns="" xmlns:a16="http://schemas.microsoft.com/office/drawing/2014/main" id="{2D0C647B-E12D-413E-8EE9-D6314499BB6F}"/>
              </a:ext>
            </a:extLst>
          </p:cNvPr>
          <p:cNvSpPr txBox="1">
            <a:spLocks/>
          </p:cNvSpPr>
          <p:nvPr/>
        </p:nvSpPr>
        <p:spPr>
          <a:xfrm>
            <a:off x="846138" y="2998151"/>
            <a:ext cx="2916168" cy="364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US" sz="1100" dirty="0" smtClean="0"/>
              <a:t>Attack chain </a:t>
            </a:r>
            <a:r>
              <a:rPr lang="en-US" sz="1100" dirty="0"/>
              <a:t>stage distribution</a:t>
            </a:r>
          </a:p>
          <a:p>
            <a:pPr marL="137160" indent="-13716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US" sz="1100" dirty="0"/>
              <a:t>Threat/ attacks trend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03444A5A-D9BE-44E2-814E-B8AEBA7C117D}"/>
              </a:ext>
            </a:extLst>
          </p:cNvPr>
          <p:cNvCxnSpPr/>
          <p:nvPr/>
        </p:nvCxnSpPr>
        <p:spPr>
          <a:xfrm>
            <a:off x="846138" y="3499014"/>
            <a:ext cx="3021012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11">
            <a:extLst>
              <a:ext uri="{FF2B5EF4-FFF2-40B4-BE49-F238E27FC236}">
                <a16:creationId xmlns="" xmlns:a16="http://schemas.microsoft.com/office/drawing/2014/main" id="{C1B781AA-B4DF-4DB3-98E4-9C0E84501E4A}"/>
              </a:ext>
            </a:extLst>
          </p:cNvPr>
          <p:cNvSpPr txBox="1">
            <a:spLocks/>
          </p:cNvSpPr>
          <p:nvPr/>
        </p:nvSpPr>
        <p:spPr>
          <a:xfrm>
            <a:off x="839788" y="3648842"/>
            <a:ext cx="291616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x-none" sz="1100" b="1" dirty="0"/>
              <a:t>Present a threat with rich detail</a:t>
            </a:r>
            <a:r>
              <a:rPr lang="x-none" sz="1100" dirty="0"/>
              <a:t>:</a:t>
            </a:r>
          </a:p>
        </p:txBody>
      </p:sp>
      <p:sp>
        <p:nvSpPr>
          <p:cNvPr id="49" name="Content Placeholder 11">
            <a:extLst>
              <a:ext uri="{FF2B5EF4-FFF2-40B4-BE49-F238E27FC236}">
                <a16:creationId xmlns="" xmlns:a16="http://schemas.microsoft.com/office/drawing/2014/main" id="{FB3232B5-FFDA-4077-AE79-DF727068EE3F}"/>
              </a:ext>
            </a:extLst>
          </p:cNvPr>
          <p:cNvSpPr txBox="1">
            <a:spLocks/>
          </p:cNvSpPr>
          <p:nvPr/>
        </p:nvSpPr>
        <p:spPr>
          <a:xfrm>
            <a:off x="839788" y="3880540"/>
            <a:ext cx="2916168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100" dirty="0" smtClean="0"/>
              <a:t>Threat information/MITRE ATT&amp;CK/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100" dirty="0" smtClean="0"/>
              <a:t>PCAP/Process information/Original alert list</a:t>
            </a:r>
            <a:endParaRPr lang="x-none" sz="1100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="" xmlns:a16="http://schemas.microsoft.com/office/drawing/2014/main" id="{44A0D778-8BD0-4853-8D1C-507873171889}"/>
              </a:ext>
            </a:extLst>
          </p:cNvPr>
          <p:cNvCxnSpPr/>
          <p:nvPr/>
        </p:nvCxnSpPr>
        <p:spPr>
          <a:xfrm>
            <a:off x="839788" y="4379858"/>
            <a:ext cx="3021012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11">
            <a:extLst>
              <a:ext uri="{FF2B5EF4-FFF2-40B4-BE49-F238E27FC236}">
                <a16:creationId xmlns="" xmlns:a16="http://schemas.microsoft.com/office/drawing/2014/main" id="{5B50374A-0303-4177-97D4-6DBFD78F10F7}"/>
              </a:ext>
            </a:extLst>
          </p:cNvPr>
          <p:cNvSpPr txBox="1">
            <a:spLocks/>
          </p:cNvSpPr>
          <p:nvPr/>
        </p:nvSpPr>
        <p:spPr>
          <a:xfrm>
            <a:off x="846138" y="4502663"/>
            <a:ext cx="291616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x-none" sz="1100" b="1" dirty="0"/>
              <a:t>Threat insights</a:t>
            </a:r>
            <a:r>
              <a:rPr lang="x-none" sz="1100" dirty="0"/>
              <a:t>: </a:t>
            </a:r>
          </a:p>
        </p:txBody>
      </p:sp>
      <p:sp>
        <p:nvSpPr>
          <p:cNvPr id="54" name="Content Placeholder 11">
            <a:extLst>
              <a:ext uri="{FF2B5EF4-FFF2-40B4-BE49-F238E27FC236}">
                <a16:creationId xmlns="" xmlns:a16="http://schemas.microsoft.com/office/drawing/2014/main" id="{C944987C-6C55-4536-80C5-A63421F46435}"/>
              </a:ext>
            </a:extLst>
          </p:cNvPr>
          <p:cNvSpPr txBox="1">
            <a:spLocks/>
          </p:cNvSpPr>
          <p:nvPr/>
        </p:nvSpPr>
        <p:spPr>
          <a:xfrm>
            <a:off x="846138" y="4734361"/>
            <a:ext cx="291616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x-none" sz="1100" dirty="0"/>
              <a:t>Visulized relationship among asset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E7F8EC99-94CC-4C27-93C3-997252A92154}"/>
              </a:ext>
            </a:extLst>
          </p:cNvPr>
          <p:cNvSpPr txBox="1"/>
          <p:nvPr/>
        </p:nvSpPr>
        <p:spPr>
          <a:xfrm>
            <a:off x="1380868" y="1310491"/>
            <a:ext cx="1986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bilit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CBE29743-FB15-42A9-B951-209C0CA9CF6A}"/>
              </a:ext>
            </a:extLst>
          </p:cNvPr>
          <p:cNvSpPr txBox="1"/>
          <p:nvPr/>
        </p:nvSpPr>
        <p:spPr>
          <a:xfrm>
            <a:off x="8825016" y="1310491"/>
            <a:ext cx="1986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nsic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E2C07ACE-19F1-403D-A564-163C82C14C94}"/>
              </a:ext>
            </a:extLst>
          </p:cNvPr>
          <p:cNvSpPr txBox="1"/>
          <p:nvPr/>
        </p:nvSpPr>
        <p:spPr>
          <a:xfrm>
            <a:off x="5154352" y="1323834"/>
            <a:ext cx="1986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es</a:t>
            </a:r>
          </a:p>
        </p:txBody>
      </p:sp>
      <p:sp>
        <p:nvSpPr>
          <p:cNvPr id="60" name="Content Placeholder 11">
            <a:extLst>
              <a:ext uri="{FF2B5EF4-FFF2-40B4-BE49-F238E27FC236}">
                <a16:creationId xmlns="" xmlns:a16="http://schemas.microsoft.com/office/drawing/2014/main" id="{D14306F5-ABC6-4A6F-81BE-D8E653892290}"/>
              </a:ext>
            </a:extLst>
          </p:cNvPr>
          <p:cNvSpPr txBox="1">
            <a:spLocks/>
          </p:cNvSpPr>
          <p:nvPr/>
        </p:nvSpPr>
        <p:spPr>
          <a:xfrm>
            <a:off x="8339496" y="2745513"/>
            <a:ext cx="2916168" cy="1523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x-none" sz="1100" b="1" dirty="0"/>
              <a:t>Five types of logs: </a:t>
            </a:r>
          </a:p>
        </p:txBody>
      </p:sp>
      <p:sp>
        <p:nvSpPr>
          <p:cNvPr id="61" name="Content Placeholder 11">
            <a:extLst>
              <a:ext uri="{FF2B5EF4-FFF2-40B4-BE49-F238E27FC236}">
                <a16:creationId xmlns="" xmlns:a16="http://schemas.microsoft.com/office/drawing/2014/main" id="{B283BB47-0C29-4DFB-9BF1-5DCF1D97D0F4}"/>
              </a:ext>
            </a:extLst>
          </p:cNvPr>
          <p:cNvSpPr txBox="1">
            <a:spLocks/>
          </p:cNvSpPr>
          <p:nvPr/>
        </p:nvSpPr>
        <p:spPr>
          <a:xfrm>
            <a:off x="8339496" y="2934347"/>
            <a:ext cx="1009292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>
                <a:ea typeface="微软雅黑" panose="020B0503020204020204" pitchFamily="34" charset="-122"/>
                <a:sym typeface=""/>
              </a:rPr>
              <a:t>Syslog</a:t>
            </a:r>
          </a:p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 err="1" smtClean="0">
                <a:ea typeface="微软雅黑" panose="020B0503020204020204" pitchFamily="34" charset="-122"/>
                <a:sym typeface=""/>
              </a:rPr>
              <a:t>Netflow</a:t>
            </a:r>
            <a:endParaRPr lang="en-US" altLang="zh-CN" sz="1050" dirty="0">
              <a:ea typeface="微软雅黑" panose="020B0503020204020204" pitchFamily="34" charset="-122"/>
              <a:sym typeface="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="" xmlns:a16="http://schemas.microsoft.com/office/drawing/2014/main" id="{E7DF27A4-C4E4-4A28-BB3A-ABACB1128347}"/>
              </a:ext>
            </a:extLst>
          </p:cNvPr>
          <p:cNvCxnSpPr/>
          <p:nvPr/>
        </p:nvCxnSpPr>
        <p:spPr>
          <a:xfrm>
            <a:off x="8345463" y="3381739"/>
            <a:ext cx="3021012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Content Placeholder 11">
            <a:extLst>
              <a:ext uri="{FF2B5EF4-FFF2-40B4-BE49-F238E27FC236}">
                <a16:creationId xmlns="" xmlns:a16="http://schemas.microsoft.com/office/drawing/2014/main" id="{95758CBC-17AF-4BAE-BB64-E446D11D425F}"/>
              </a:ext>
            </a:extLst>
          </p:cNvPr>
          <p:cNvSpPr txBox="1">
            <a:spLocks/>
          </p:cNvSpPr>
          <p:nvPr/>
        </p:nvSpPr>
        <p:spPr>
          <a:xfrm>
            <a:off x="8359990" y="3523422"/>
            <a:ext cx="291616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100" b="1" dirty="0">
                <a:ea typeface="微软雅黑" panose="020B0503020204020204" pitchFamily="34" charset="-122"/>
                <a:sym typeface=""/>
              </a:rPr>
              <a:t>Advance log searching</a:t>
            </a:r>
            <a:r>
              <a:rPr lang="en-US" sz="1100" b="1" dirty="0" smtClean="0">
                <a:ea typeface="微软雅黑" panose="020B0503020204020204" pitchFamily="34" charset="-122"/>
                <a:sym typeface=""/>
              </a:rPr>
              <a:t>: </a:t>
            </a:r>
            <a:r>
              <a:rPr lang="en-US" altLang="zh-CN" sz="1100" dirty="0">
                <a:ea typeface="微软雅黑" panose="020B0503020204020204" pitchFamily="34" charset="-122"/>
                <a:sym typeface=""/>
              </a:rPr>
              <a:t>SPL </a:t>
            </a:r>
            <a:r>
              <a:rPr lang="en-US" altLang="zh-CN" sz="1100" dirty="0" smtClean="0">
                <a:ea typeface="微软雅黑" panose="020B0503020204020204" pitchFamily="34" charset="-122"/>
                <a:sym typeface=""/>
              </a:rPr>
              <a:t>based</a:t>
            </a:r>
            <a:r>
              <a:rPr lang="en-US" sz="1100" b="1" dirty="0" smtClean="0">
                <a:ea typeface="微软雅黑" panose="020B0503020204020204" pitchFamily="34" charset="-122"/>
                <a:sym typeface=""/>
              </a:rPr>
              <a:t> </a:t>
            </a:r>
            <a:endParaRPr lang="en-US" sz="1100" b="1" dirty="0">
              <a:ea typeface="微软雅黑" panose="020B0503020204020204" pitchFamily="34" charset="-122"/>
              <a:sym typeface=""/>
            </a:endParaRPr>
          </a:p>
        </p:txBody>
      </p:sp>
      <p:sp>
        <p:nvSpPr>
          <p:cNvPr id="67" name="Content Placeholder 11">
            <a:extLst>
              <a:ext uri="{FF2B5EF4-FFF2-40B4-BE49-F238E27FC236}">
                <a16:creationId xmlns="" xmlns:a16="http://schemas.microsoft.com/office/drawing/2014/main" id="{B183E4CA-3891-42F4-BB08-7B96E96A7C24}"/>
              </a:ext>
            </a:extLst>
          </p:cNvPr>
          <p:cNvSpPr txBox="1">
            <a:spLocks/>
          </p:cNvSpPr>
          <p:nvPr/>
        </p:nvSpPr>
        <p:spPr>
          <a:xfrm>
            <a:off x="8359990" y="3745937"/>
            <a:ext cx="2916168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None/>
            </a:pPr>
            <a:r>
              <a:rPr lang="en-US" altLang="zh-CN" sz="1050" dirty="0" smtClean="0">
                <a:ea typeface="微软雅黑" panose="020B0503020204020204" pitchFamily="34" charset="-122"/>
                <a:sym typeface=""/>
              </a:rPr>
              <a:t>Support </a:t>
            </a:r>
            <a:r>
              <a:rPr lang="en-US" altLang="zh-CN" sz="1050" dirty="0">
                <a:ea typeface="微软雅黑" panose="020B0503020204020204" pitchFamily="34" charset="-122"/>
                <a:sym typeface=""/>
              </a:rPr>
              <a:t>searching by: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A5276001-738E-408B-BC63-E0E93318DB7C}"/>
              </a:ext>
            </a:extLst>
          </p:cNvPr>
          <p:cNvSpPr txBox="1"/>
          <p:nvPr/>
        </p:nvSpPr>
        <p:spPr>
          <a:xfrm>
            <a:off x="8363665" y="3955734"/>
            <a:ext cx="1246934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137160" indent="-13716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Key-value pair</a:t>
            </a:r>
          </a:p>
          <a:p>
            <a:pPr marL="137160" indent="-13716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10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Regex</a:t>
            </a:r>
            <a:endParaRPr lang="en-US" altLang="zh-CN" sz="10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71" name="Content Placeholder 11">
            <a:extLst>
              <a:ext uri="{FF2B5EF4-FFF2-40B4-BE49-F238E27FC236}">
                <a16:creationId xmlns="" xmlns:a16="http://schemas.microsoft.com/office/drawing/2014/main" id="{9BC6A921-8EFC-436A-BE3D-6C0D555B04E2}"/>
              </a:ext>
            </a:extLst>
          </p:cNvPr>
          <p:cNvSpPr txBox="1">
            <a:spLocks/>
          </p:cNvSpPr>
          <p:nvPr/>
        </p:nvSpPr>
        <p:spPr>
          <a:xfrm>
            <a:off x="9395171" y="2937599"/>
            <a:ext cx="1009292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>
                <a:ea typeface="微软雅黑" panose="020B0503020204020204" pitchFamily="34" charset="-122"/>
                <a:sym typeface=""/>
              </a:rPr>
              <a:t>Sysmon</a:t>
            </a:r>
          </a:p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>
                <a:ea typeface="微软雅黑" panose="020B0503020204020204" pitchFamily="34" charset="-122"/>
                <a:sym typeface=""/>
              </a:rPr>
              <a:t>Linux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5C947C03-6AD6-488D-8E42-2E78C2D997C7}"/>
              </a:ext>
            </a:extLst>
          </p:cNvPr>
          <p:cNvSpPr txBox="1"/>
          <p:nvPr/>
        </p:nvSpPr>
        <p:spPr>
          <a:xfrm>
            <a:off x="9998451" y="3955733"/>
            <a:ext cx="1368024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137160" indent="-13716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Nested </a:t>
            </a:r>
            <a:r>
              <a:rPr lang="en-US" altLang="zh-CN" sz="10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conditions</a:t>
            </a:r>
          </a:p>
          <a:p>
            <a:pPr marL="137160" indent="-13716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10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Fuzzy matching</a:t>
            </a:r>
          </a:p>
        </p:txBody>
      </p:sp>
      <p:sp>
        <p:nvSpPr>
          <p:cNvPr id="75" name="Oval 74">
            <a:extLst>
              <a:ext uri="{FF2B5EF4-FFF2-40B4-BE49-F238E27FC236}">
                <a16:creationId xmlns="" xmlns:a16="http://schemas.microsoft.com/office/drawing/2014/main" id="{6B8B2AE7-6977-473A-B36B-496A7C579D34}"/>
              </a:ext>
            </a:extLst>
          </p:cNvPr>
          <p:cNvSpPr/>
          <p:nvPr/>
        </p:nvSpPr>
        <p:spPr>
          <a:xfrm>
            <a:off x="5263530" y="3010519"/>
            <a:ext cx="1664938" cy="166493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Rounded Rectangle 36">
            <a:extLst>
              <a:ext uri="{FF2B5EF4-FFF2-40B4-BE49-F238E27FC236}">
                <a16:creationId xmlns="" xmlns:a16="http://schemas.microsoft.com/office/drawing/2014/main" id="{92D04FF8-FA0B-48EE-B115-F57467461DB9}"/>
              </a:ext>
            </a:extLst>
          </p:cNvPr>
          <p:cNvSpPr/>
          <p:nvPr/>
        </p:nvSpPr>
        <p:spPr>
          <a:xfrm>
            <a:off x="4632203" y="2644032"/>
            <a:ext cx="2855273" cy="32879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Learning</a:t>
            </a:r>
          </a:p>
        </p:txBody>
      </p:sp>
      <p:sp>
        <p:nvSpPr>
          <p:cNvPr id="78" name="Rounded Rectangle 36">
            <a:extLst>
              <a:ext uri="{FF2B5EF4-FFF2-40B4-BE49-F238E27FC236}">
                <a16:creationId xmlns="" xmlns:a16="http://schemas.microsoft.com/office/drawing/2014/main" id="{8B96E79A-96AC-4518-AADD-A0977230D70C}"/>
              </a:ext>
            </a:extLst>
          </p:cNvPr>
          <p:cNvSpPr/>
          <p:nvPr/>
        </p:nvSpPr>
        <p:spPr>
          <a:xfrm>
            <a:off x="4632202" y="4737037"/>
            <a:ext cx="2855273" cy="32879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stical Analysi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5B9D60D-64B8-DE4A-BB46-341808199819}"/>
              </a:ext>
            </a:extLst>
          </p:cNvPr>
          <p:cNvSpPr txBox="1"/>
          <p:nvPr/>
        </p:nvSpPr>
        <p:spPr>
          <a:xfrm>
            <a:off x="4869472" y="3244097"/>
            <a:ext cx="244891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/>
              <a:t>Rule based</a:t>
            </a:r>
            <a:r>
              <a:rPr lang="zh-CN" altLang="en-US" sz="1200" b="1" dirty="0"/>
              <a:t> </a:t>
            </a:r>
            <a:r>
              <a:rPr lang="en-US" sz="1200" b="1" dirty="0"/>
              <a:t>detection</a:t>
            </a:r>
          </a:p>
          <a:p>
            <a:pPr algn="ctr">
              <a:lnSpc>
                <a:spcPct val="150000"/>
              </a:lnSpc>
            </a:pPr>
            <a:r>
              <a:rPr lang="en-US" sz="1200" b="1" dirty="0"/>
              <a:t>Threat Intelligence</a:t>
            </a:r>
          </a:p>
          <a:p>
            <a:pPr algn="ctr">
              <a:lnSpc>
                <a:spcPct val="150000"/>
              </a:lnSpc>
            </a:pPr>
            <a:r>
              <a:rPr lang="en-US" sz="1200" b="1" dirty="0"/>
              <a:t>Behavior Analysis</a:t>
            </a:r>
          </a:p>
          <a:p>
            <a:pPr algn="ctr">
              <a:lnSpc>
                <a:spcPct val="150000"/>
              </a:lnSpc>
            </a:pPr>
            <a:r>
              <a:rPr lang="en-US" sz="1200" b="1" dirty="0"/>
              <a:t>Correlation Analysis</a:t>
            </a:r>
          </a:p>
          <a:p>
            <a:endParaRPr lang="x-none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881" y="2689770"/>
            <a:ext cx="3090940" cy="304826"/>
          </a:xfrm>
          <a:prstGeom prst="rect">
            <a:avLst/>
          </a:prstGeom>
        </p:spPr>
      </p:pic>
      <p:sp>
        <p:nvSpPr>
          <p:cNvPr id="45" name="Content Placeholder 11">
            <a:extLst>
              <a:ext uri="{FF2B5EF4-FFF2-40B4-BE49-F238E27FC236}">
                <a16:creationId xmlns="" xmlns:a16="http://schemas.microsoft.com/office/drawing/2014/main" id="{9BC6A921-8EFC-436A-BE3D-6C0D555B04E2}"/>
              </a:ext>
            </a:extLst>
          </p:cNvPr>
          <p:cNvSpPr txBox="1">
            <a:spLocks/>
          </p:cNvSpPr>
          <p:nvPr/>
        </p:nvSpPr>
        <p:spPr>
          <a:xfrm>
            <a:off x="10357183" y="2929727"/>
            <a:ext cx="1009292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 err="1">
                <a:ea typeface="微软雅黑" panose="020B0503020204020204" pitchFamily="34" charset="-122"/>
                <a:sym typeface=""/>
              </a:rPr>
              <a:t>MetaData</a:t>
            </a:r>
            <a:endParaRPr lang="en-US" altLang="zh-CN" sz="1050" dirty="0">
              <a:ea typeface="微软雅黑" panose="020B0503020204020204" pitchFamily="34" charset="-122"/>
              <a:sym typeface=""/>
            </a:endParaRPr>
          </a:p>
        </p:txBody>
      </p:sp>
      <p:cxnSp>
        <p:nvCxnSpPr>
          <p:cNvPr id="46" name="Straight Connector 64">
            <a:extLst>
              <a:ext uri="{FF2B5EF4-FFF2-40B4-BE49-F238E27FC236}">
                <a16:creationId xmlns="" xmlns:a16="http://schemas.microsoft.com/office/drawing/2014/main" id="{E7DF27A4-C4E4-4A28-BB3A-ABACB1128347}"/>
              </a:ext>
            </a:extLst>
          </p:cNvPr>
          <p:cNvCxnSpPr/>
          <p:nvPr/>
        </p:nvCxnSpPr>
        <p:spPr>
          <a:xfrm>
            <a:off x="8287074" y="4412260"/>
            <a:ext cx="3021012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ontent Placeholder 11">
            <a:extLst>
              <a:ext uri="{FF2B5EF4-FFF2-40B4-BE49-F238E27FC236}">
                <a16:creationId xmlns="" xmlns:a16="http://schemas.microsoft.com/office/drawing/2014/main" id="{D14306F5-ABC6-4A6F-81BE-D8E653892290}"/>
              </a:ext>
            </a:extLst>
          </p:cNvPr>
          <p:cNvSpPr txBox="1">
            <a:spLocks/>
          </p:cNvSpPr>
          <p:nvPr/>
        </p:nvSpPr>
        <p:spPr>
          <a:xfrm>
            <a:off x="8359990" y="4580593"/>
            <a:ext cx="2916168" cy="1523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b="1" dirty="0" smtClean="0"/>
              <a:t>Rich decoding types</a:t>
            </a:r>
            <a:r>
              <a:rPr lang="x-none" sz="1100" b="1" dirty="0" smtClean="0"/>
              <a:t>: </a:t>
            </a:r>
            <a:endParaRPr lang="x-none" sz="1100" b="1" dirty="0"/>
          </a:p>
        </p:txBody>
      </p:sp>
      <p:sp>
        <p:nvSpPr>
          <p:cNvPr id="62" name="Content Placeholder 11">
            <a:extLst>
              <a:ext uri="{FF2B5EF4-FFF2-40B4-BE49-F238E27FC236}">
                <a16:creationId xmlns="" xmlns:a16="http://schemas.microsoft.com/office/drawing/2014/main" id="{B283BB47-0C29-4DFB-9BF1-5DCF1D97D0F4}"/>
              </a:ext>
            </a:extLst>
          </p:cNvPr>
          <p:cNvSpPr txBox="1">
            <a:spLocks/>
          </p:cNvSpPr>
          <p:nvPr/>
        </p:nvSpPr>
        <p:spPr>
          <a:xfrm>
            <a:off x="8346318" y="4748684"/>
            <a:ext cx="1009292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 smtClean="0">
                <a:ea typeface="微软雅黑" panose="020B0503020204020204" pitchFamily="34" charset="-122"/>
                <a:sym typeface=""/>
              </a:rPr>
              <a:t>URL</a:t>
            </a:r>
          </a:p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/>
              <a:t>Base64</a:t>
            </a:r>
            <a:endParaRPr lang="en-US" altLang="zh-CN" sz="1050" dirty="0">
              <a:ea typeface="微软雅黑" panose="020B0503020204020204" pitchFamily="34" charset="-122"/>
              <a:sym typeface=""/>
            </a:endParaRPr>
          </a:p>
        </p:txBody>
      </p:sp>
      <p:sp>
        <p:nvSpPr>
          <p:cNvPr id="63" name="Content Placeholder 11">
            <a:extLst>
              <a:ext uri="{FF2B5EF4-FFF2-40B4-BE49-F238E27FC236}">
                <a16:creationId xmlns="" xmlns:a16="http://schemas.microsoft.com/office/drawing/2014/main" id="{9BC6A921-8EFC-436A-BE3D-6C0D555B04E2}"/>
              </a:ext>
            </a:extLst>
          </p:cNvPr>
          <p:cNvSpPr txBox="1">
            <a:spLocks/>
          </p:cNvSpPr>
          <p:nvPr/>
        </p:nvSpPr>
        <p:spPr>
          <a:xfrm>
            <a:off x="9395171" y="4752021"/>
            <a:ext cx="1009292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 smtClean="0">
                <a:ea typeface="微软雅黑" panose="020B0503020204020204" pitchFamily="34" charset="-122"/>
                <a:sym typeface=""/>
              </a:rPr>
              <a:t>Unicode</a:t>
            </a:r>
          </a:p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 smtClean="0"/>
              <a:t>UTF-8</a:t>
            </a:r>
            <a:endParaRPr lang="en-US" altLang="zh-CN" sz="1050" dirty="0">
              <a:ea typeface="微软雅黑" panose="020B0503020204020204" pitchFamily="34" charset="-122"/>
              <a:sym typeface=""/>
            </a:endParaRPr>
          </a:p>
        </p:txBody>
      </p:sp>
      <p:sp>
        <p:nvSpPr>
          <p:cNvPr id="64" name="Content Placeholder 11">
            <a:extLst>
              <a:ext uri="{FF2B5EF4-FFF2-40B4-BE49-F238E27FC236}">
                <a16:creationId xmlns="" xmlns:a16="http://schemas.microsoft.com/office/drawing/2014/main" id="{9BC6A921-8EFC-436A-BE3D-6C0D555B04E2}"/>
              </a:ext>
            </a:extLst>
          </p:cNvPr>
          <p:cNvSpPr txBox="1">
            <a:spLocks/>
          </p:cNvSpPr>
          <p:nvPr/>
        </p:nvSpPr>
        <p:spPr>
          <a:xfrm>
            <a:off x="10357183" y="4744149"/>
            <a:ext cx="1009292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 smtClean="0"/>
              <a:t>HEX</a:t>
            </a:r>
          </a:p>
          <a:p>
            <a:pPr marL="137160" indent="-1371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050" dirty="0" smtClean="0">
                <a:ea typeface="微软雅黑" panose="020B0503020204020204" pitchFamily="34" charset="-122"/>
                <a:sym typeface=""/>
              </a:rPr>
              <a:t>…</a:t>
            </a:r>
            <a:endParaRPr lang="en-US" altLang="zh-CN" sz="1050" dirty="0"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6660421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6B53DB03-92F2-4EAF-94E4-FF449C3A3833}"/>
              </a:ext>
            </a:extLst>
          </p:cNvPr>
          <p:cNvSpPr/>
          <p:nvPr/>
        </p:nvSpPr>
        <p:spPr>
          <a:xfrm>
            <a:off x="-1" y="1880113"/>
            <a:ext cx="12192001" cy="14820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Advanced Threat Analysis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D12F4060-9D82-4FCB-8342-AE23DD9E7781}"/>
              </a:ext>
            </a:extLst>
          </p:cNvPr>
          <p:cNvSpPr/>
          <p:nvPr/>
        </p:nvSpPr>
        <p:spPr>
          <a:xfrm>
            <a:off x="-1" y="1335315"/>
            <a:ext cx="12192001" cy="5807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2000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&amp; Statistic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4BB356C9-7C3F-4EAC-9720-F2726B7529FF}"/>
              </a:ext>
            </a:extLst>
          </p:cNvPr>
          <p:cNvSpPr/>
          <p:nvPr/>
        </p:nvSpPr>
        <p:spPr>
          <a:xfrm>
            <a:off x="598892" y="3362151"/>
            <a:ext cx="3420521" cy="289894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0217E168-E782-4594-8981-A8A4DA65FF59}"/>
              </a:ext>
            </a:extLst>
          </p:cNvPr>
          <p:cNvSpPr/>
          <p:nvPr/>
        </p:nvSpPr>
        <p:spPr>
          <a:xfrm>
            <a:off x="4287010" y="3376594"/>
            <a:ext cx="3468461" cy="289894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7F5DD764-1FE8-4358-A17B-4BC7CF0EA6EF}"/>
              </a:ext>
            </a:extLst>
          </p:cNvPr>
          <p:cNvSpPr/>
          <p:nvPr/>
        </p:nvSpPr>
        <p:spPr>
          <a:xfrm>
            <a:off x="8024735" y="3362154"/>
            <a:ext cx="3599413" cy="289894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="" xmlns:a16="http://schemas.microsoft.com/office/drawing/2014/main" id="{31634A8D-27F7-4D74-8D27-B28D11A53C41}"/>
              </a:ext>
            </a:extLst>
          </p:cNvPr>
          <p:cNvSpPr/>
          <p:nvPr/>
        </p:nvSpPr>
        <p:spPr>
          <a:xfrm>
            <a:off x="598892" y="2959099"/>
            <a:ext cx="3410738" cy="4030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ule-based Detection</a:t>
            </a:r>
            <a:endParaRPr lang="x-non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3C516857-955C-4BF2-AC39-E6BD5063E619}"/>
              </a:ext>
            </a:extLst>
          </p:cNvPr>
          <p:cNvSpPr/>
          <p:nvPr/>
        </p:nvSpPr>
        <p:spPr>
          <a:xfrm>
            <a:off x="4287596" y="2956451"/>
            <a:ext cx="3458541" cy="4030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400" b="1" dirty="0">
                <a:latin typeface="Arial" panose="020B0604020202020204" pitchFamily="34" charset="0"/>
                <a:cs typeface="Arial" panose="020B0604020202020204" pitchFamily="34" charset="0"/>
              </a:rPr>
              <a:t>Behavior Analysi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CCB46AC2-45C0-458B-9418-6F15DBEAD06A}"/>
              </a:ext>
            </a:extLst>
          </p:cNvPr>
          <p:cNvSpPr/>
          <p:nvPr/>
        </p:nvSpPr>
        <p:spPr>
          <a:xfrm>
            <a:off x="8035032" y="2959101"/>
            <a:ext cx="3589117" cy="4030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rrelation</a:t>
            </a:r>
            <a:r>
              <a:rPr lang="x-non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x-none" sz="1400" b="1" dirty="0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588B0FD0-202A-49D7-85E4-B5C044D362D8}"/>
              </a:ext>
            </a:extLst>
          </p:cNvPr>
          <p:cNvSpPr txBox="1"/>
          <p:nvPr/>
        </p:nvSpPr>
        <p:spPr>
          <a:xfrm>
            <a:off x="866489" y="3524498"/>
            <a:ext cx="2815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x-none" sz="1200" b="1" dirty="0">
                <a:latin typeface="Arial" panose="020B0604020202020204" pitchFamily="34" charset="0"/>
                <a:cs typeface="Arial" panose="020B0604020202020204" pitchFamily="34" charset="0"/>
              </a:rPr>
              <a:t>Multiple Detection Engines</a:t>
            </a:r>
          </a:p>
        </p:txBody>
      </p:sp>
      <p:sp>
        <p:nvSpPr>
          <p:cNvPr id="72" name="Content Placeholder 11">
            <a:extLst>
              <a:ext uri="{FF2B5EF4-FFF2-40B4-BE49-F238E27FC236}">
                <a16:creationId xmlns="" xmlns:a16="http://schemas.microsoft.com/office/drawing/2014/main" id="{15BF9EA4-FD9D-4ECF-AD93-A7EDF211D824}"/>
              </a:ext>
            </a:extLst>
          </p:cNvPr>
          <p:cNvSpPr txBox="1">
            <a:spLocks/>
          </p:cNvSpPr>
          <p:nvPr/>
        </p:nvSpPr>
        <p:spPr>
          <a:xfrm>
            <a:off x="866489" y="3806327"/>
            <a:ext cx="2815144" cy="22057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Scan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File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HTTP Detection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Suspicious Protocol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Brute Force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Domain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Ransom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Mining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USB Action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Blocked Access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Weak Password Detection</a:t>
            </a:r>
          </a:p>
        </p:txBody>
      </p:sp>
      <p:sp>
        <p:nvSpPr>
          <p:cNvPr id="83" name="Oval 82">
            <a:extLst>
              <a:ext uri="{FF2B5EF4-FFF2-40B4-BE49-F238E27FC236}">
                <a16:creationId xmlns="" xmlns:a16="http://schemas.microsoft.com/office/drawing/2014/main" id="{D9240D89-8CB3-4635-8176-99140C4529C6}"/>
              </a:ext>
            </a:extLst>
          </p:cNvPr>
          <p:cNvSpPr/>
          <p:nvPr/>
        </p:nvSpPr>
        <p:spPr>
          <a:xfrm>
            <a:off x="1849341" y="2023983"/>
            <a:ext cx="766796" cy="76679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="" xmlns:a16="http://schemas.microsoft.com/office/drawing/2014/main" id="{5B7E8B53-1759-4346-B347-84102191C3A9}"/>
              </a:ext>
            </a:extLst>
          </p:cNvPr>
          <p:cNvSpPr/>
          <p:nvPr/>
        </p:nvSpPr>
        <p:spPr>
          <a:xfrm>
            <a:off x="5712601" y="2036948"/>
            <a:ext cx="766796" cy="76679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="" xmlns:a16="http://schemas.microsoft.com/office/drawing/2014/main" id="{5F8130F5-FD07-4CD4-817B-A006460196A9}"/>
              </a:ext>
            </a:extLst>
          </p:cNvPr>
          <p:cNvSpPr/>
          <p:nvPr/>
        </p:nvSpPr>
        <p:spPr>
          <a:xfrm>
            <a:off x="9572178" y="2043929"/>
            <a:ext cx="766796" cy="76679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9A747F19-03C4-41CF-8A49-26D6C1516D2E}"/>
              </a:ext>
            </a:extLst>
          </p:cNvPr>
          <p:cNvSpPr txBox="1"/>
          <p:nvPr/>
        </p:nvSpPr>
        <p:spPr>
          <a:xfrm>
            <a:off x="4579170" y="3538942"/>
            <a:ext cx="28545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x-none" sz="1200" b="1" dirty="0">
                <a:latin typeface="Arial" panose="020B0604020202020204" pitchFamily="34" charset="0"/>
                <a:cs typeface="Arial" panose="020B0604020202020204" pitchFamily="34" charset="0"/>
              </a:rPr>
              <a:t>Abnormal Traffic Detection</a:t>
            </a:r>
          </a:p>
        </p:txBody>
      </p:sp>
      <p:sp>
        <p:nvSpPr>
          <p:cNvPr id="92" name="Content Placeholder 11">
            <a:extLst>
              <a:ext uri="{FF2B5EF4-FFF2-40B4-BE49-F238E27FC236}">
                <a16:creationId xmlns="" xmlns:a16="http://schemas.microsoft.com/office/drawing/2014/main" id="{82048730-7CD6-4D3A-B2C6-3997DC5F59CA}"/>
              </a:ext>
            </a:extLst>
          </p:cNvPr>
          <p:cNvSpPr txBox="1">
            <a:spLocks/>
          </p:cNvSpPr>
          <p:nvPr/>
        </p:nvSpPr>
        <p:spPr>
          <a:xfrm>
            <a:off x="4579170" y="3800229"/>
            <a:ext cx="285459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x-none" sz="1000" dirty="0"/>
              <a:t>Netflow data from </a:t>
            </a:r>
            <a:r>
              <a:rPr lang="x-none" sz="1000" dirty="0" smtClean="0"/>
              <a:t>BDS </a:t>
            </a:r>
            <a:r>
              <a:rPr lang="x-none" sz="1000" dirty="0"/>
              <a:t>or NGFW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x-none" sz="1000" dirty="0"/>
              <a:t>Machine learning based traffic modeling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Model self tuning 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/>
              <a:t>Threats are registered when behavior or entity is beyond threshold baseline of normality</a:t>
            </a:r>
            <a:endParaRPr lang="x-none" sz="1000" dirty="0"/>
          </a:p>
        </p:txBody>
      </p: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8A317E75-B1A6-4995-A080-98C81B540AFB}"/>
              </a:ext>
            </a:extLst>
          </p:cNvPr>
          <p:cNvSpPr txBox="1"/>
          <p:nvPr/>
        </p:nvSpPr>
        <p:spPr>
          <a:xfrm>
            <a:off x="8391642" y="3538942"/>
            <a:ext cx="29623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mple Mode</a:t>
            </a:r>
            <a:endParaRPr lang="x-none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Content Placeholder 11">
            <a:extLst>
              <a:ext uri="{FF2B5EF4-FFF2-40B4-BE49-F238E27FC236}">
                <a16:creationId xmlns="" xmlns:a16="http://schemas.microsoft.com/office/drawing/2014/main" id="{EC7E9C88-9248-4238-9442-68B538B3707D}"/>
              </a:ext>
            </a:extLst>
          </p:cNvPr>
          <p:cNvSpPr txBox="1">
            <a:spLocks/>
          </p:cNvSpPr>
          <p:nvPr/>
        </p:nvSpPr>
        <p:spPr>
          <a:xfrm>
            <a:off x="8391642" y="3818702"/>
            <a:ext cx="2962375" cy="718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x-none" sz="1000" dirty="0"/>
              <a:t>Threat logs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x-none" sz="1000" dirty="0"/>
              <a:t>General logs </a:t>
            </a:r>
            <a:endParaRPr lang="en-US" sz="1000" dirty="0" smtClean="0"/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 smtClean="0"/>
              <a:t>Attack chain analysis: </a:t>
            </a:r>
            <a:r>
              <a:rPr lang="en-US" altLang="zh-CN" sz="1000" dirty="0"/>
              <a:t>Customizable based on threat </a:t>
            </a:r>
            <a:r>
              <a:rPr lang="en-US" altLang="zh-CN" sz="1000" dirty="0" smtClean="0"/>
              <a:t>events</a:t>
            </a:r>
            <a:endParaRPr lang="en-US" sz="1000" dirty="0"/>
          </a:p>
        </p:txBody>
      </p:sp>
      <p:sp>
        <p:nvSpPr>
          <p:cNvPr id="102" name="任意多边形 22">
            <a:extLst>
              <a:ext uri="{FF2B5EF4-FFF2-40B4-BE49-F238E27FC236}">
                <a16:creationId xmlns="" xmlns:a16="http://schemas.microsoft.com/office/drawing/2014/main" id="{4FED0A21-460E-41A2-BCC3-27492007399C}"/>
              </a:ext>
            </a:extLst>
          </p:cNvPr>
          <p:cNvSpPr/>
          <p:nvPr/>
        </p:nvSpPr>
        <p:spPr bwMode="auto">
          <a:xfrm rot="10800000" flipH="1" flipV="1">
            <a:off x="5901446" y="2251191"/>
            <a:ext cx="389106" cy="338309"/>
          </a:xfrm>
          <a:custGeom>
            <a:avLst/>
            <a:gdLst>
              <a:gd name="connsiteX0" fmla="*/ 222227 w 532372"/>
              <a:gd name="connsiteY0" fmla="*/ 538088 h 607462"/>
              <a:gd name="connsiteX1" fmla="*/ 282097 w 532372"/>
              <a:gd name="connsiteY1" fmla="*/ 562911 h 607462"/>
              <a:gd name="connsiteX2" fmla="*/ 302611 w 532372"/>
              <a:gd name="connsiteY2" fmla="*/ 576989 h 607462"/>
              <a:gd name="connsiteX3" fmla="*/ 306324 w 532372"/>
              <a:gd name="connsiteY3" fmla="*/ 594958 h 607462"/>
              <a:gd name="connsiteX4" fmla="*/ 288409 w 532372"/>
              <a:gd name="connsiteY4" fmla="*/ 598663 h 607462"/>
              <a:gd name="connsiteX5" fmla="*/ 266967 w 532372"/>
              <a:gd name="connsiteY5" fmla="*/ 583936 h 607462"/>
              <a:gd name="connsiteX6" fmla="*/ 226682 w 532372"/>
              <a:gd name="connsiteY6" fmla="*/ 563652 h 607462"/>
              <a:gd name="connsiteX7" fmla="*/ 174980 w 532372"/>
              <a:gd name="connsiteY7" fmla="*/ 603572 h 607462"/>
              <a:gd name="connsiteX8" fmla="*/ 165697 w 532372"/>
              <a:gd name="connsiteY8" fmla="*/ 607462 h 607462"/>
              <a:gd name="connsiteX9" fmla="*/ 156601 w 532372"/>
              <a:gd name="connsiteY9" fmla="*/ 603850 h 607462"/>
              <a:gd name="connsiteX10" fmla="*/ 156322 w 532372"/>
              <a:gd name="connsiteY10" fmla="*/ 585510 h 607462"/>
              <a:gd name="connsiteX11" fmla="*/ 222227 w 532372"/>
              <a:gd name="connsiteY11" fmla="*/ 538088 h 607462"/>
              <a:gd name="connsiteX12" fmla="*/ 337451 w 532372"/>
              <a:gd name="connsiteY12" fmla="*/ 508600 h 607462"/>
              <a:gd name="connsiteX13" fmla="*/ 346451 w 532372"/>
              <a:gd name="connsiteY13" fmla="*/ 512585 h 607462"/>
              <a:gd name="connsiteX14" fmla="*/ 354244 w 532372"/>
              <a:gd name="connsiteY14" fmla="*/ 529173 h 607462"/>
              <a:gd name="connsiteX15" fmla="*/ 337636 w 532372"/>
              <a:gd name="connsiteY15" fmla="*/ 536958 h 607462"/>
              <a:gd name="connsiteX16" fmla="*/ 293288 w 532372"/>
              <a:gd name="connsiteY16" fmla="*/ 512956 h 607462"/>
              <a:gd name="connsiteX17" fmla="*/ 301174 w 532372"/>
              <a:gd name="connsiteY17" fmla="*/ 513141 h 607462"/>
              <a:gd name="connsiteX18" fmla="*/ 337451 w 532372"/>
              <a:gd name="connsiteY18" fmla="*/ 508600 h 607462"/>
              <a:gd name="connsiteX19" fmla="*/ 198075 w 532372"/>
              <a:gd name="connsiteY19" fmla="*/ 471482 h 607462"/>
              <a:gd name="connsiteX20" fmla="*/ 219618 w 532372"/>
              <a:gd name="connsiteY20" fmla="*/ 488728 h 607462"/>
              <a:gd name="connsiteX21" fmla="*/ 138741 w 532372"/>
              <a:gd name="connsiteY21" fmla="*/ 544267 h 607462"/>
              <a:gd name="connsiteX22" fmla="*/ 121377 w 532372"/>
              <a:gd name="connsiteY22" fmla="*/ 556877 h 607462"/>
              <a:gd name="connsiteX23" fmla="*/ 113856 w 532372"/>
              <a:gd name="connsiteY23" fmla="*/ 559195 h 607462"/>
              <a:gd name="connsiteX24" fmla="*/ 103270 w 532372"/>
              <a:gd name="connsiteY24" fmla="*/ 553725 h 607462"/>
              <a:gd name="connsiteX25" fmla="*/ 106334 w 532372"/>
              <a:gd name="connsiteY25" fmla="*/ 535644 h 607462"/>
              <a:gd name="connsiteX26" fmla="*/ 123420 w 532372"/>
              <a:gd name="connsiteY26" fmla="*/ 523312 h 607462"/>
              <a:gd name="connsiteX27" fmla="*/ 198075 w 532372"/>
              <a:gd name="connsiteY27" fmla="*/ 471482 h 607462"/>
              <a:gd name="connsiteX28" fmla="*/ 161975 w 532372"/>
              <a:gd name="connsiteY28" fmla="*/ 417006 h 607462"/>
              <a:gd name="connsiteX29" fmla="*/ 173397 w 532372"/>
              <a:gd name="connsiteY29" fmla="*/ 440548 h 607462"/>
              <a:gd name="connsiteX30" fmla="*/ 162997 w 532372"/>
              <a:gd name="connsiteY30" fmla="*/ 447407 h 607462"/>
              <a:gd name="connsiteX31" fmla="*/ 70325 w 532372"/>
              <a:gd name="connsiteY31" fmla="*/ 500516 h 607462"/>
              <a:gd name="connsiteX32" fmla="*/ 66982 w 532372"/>
              <a:gd name="connsiteY32" fmla="*/ 500979 h 607462"/>
              <a:gd name="connsiteX33" fmla="*/ 54446 w 532372"/>
              <a:gd name="connsiteY33" fmla="*/ 491432 h 607462"/>
              <a:gd name="connsiteX34" fmla="*/ 63546 w 532372"/>
              <a:gd name="connsiteY34" fmla="*/ 475491 h 607462"/>
              <a:gd name="connsiteX35" fmla="*/ 148697 w 532372"/>
              <a:gd name="connsiteY35" fmla="*/ 425718 h 607462"/>
              <a:gd name="connsiteX36" fmla="*/ 161975 w 532372"/>
              <a:gd name="connsiteY36" fmla="*/ 417006 h 607462"/>
              <a:gd name="connsiteX37" fmla="*/ 241234 w 532372"/>
              <a:gd name="connsiteY37" fmla="*/ 415059 h 607462"/>
              <a:gd name="connsiteX38" fmla="*/ 239377 w 532372"/>
              <a:gd name="connsiteY38" fmla="*/ 416728 h 607462"/>
              <a:gd name="connsiteX39" fmla="*/ 238820 w 532372"/>
              <a:gd name="connsiteY39" fmla="*/ 422846 h 607462"/>
              <a:gd name="connsiteX40" fmla="*/ 239377 w 532372"/>
              <a:gd name="connsiteY40" fmla="*/ 428871 h 607462"/>
              <a:gd name="connsiteX41" fmla="*/ 239563 w 532372"/>
              <a:gd name="connsiteY41" fmla="*/ 429427 h 607462"/>
              <a:gd name="connsiteX42" fmla="*/ 240677 w 532372"/>
              <a:gd name="connsiteY42" fmla="*/ 430446 h 607462"/>
              <a:gd name="connsiteX43" fmla="*/ 241234 w 532372"/>
              <a:gd name="connsiteY43" fmla="*/ 430539 h 607462"/>
              <a:gd name="connsiteX44" fmla="*/ 243091 w 532372"/>
              <a:gd name="connsiteY44" fmla="*/ 428871 h 607462"/>
              <a:gd name="connsiteX45" fmla="*/ 243556 w 532372"/>
              <a:gd name="connsiteY45" fmla="*/ 422846 h 607462"/>
              <a:gd name="connsiteX46" fmla="*/ 243091 w 532372"/>
              <a:gd name="connsiteY46" fmla="*/ 416821 h 607462"/>
              <a:gd name="connsiteX47" fmla="*/ 241234 w 532372"/>
              <a:gd name="connsiteY47" fmla="*/ 415059 h 607462"/>
              <a:gd name="connsiteX48" fmla="*/ 347835 w 532372"/>
              <a:gd name="connsiteY48" fmla="*/ 415018 h 607462"/>
              <a:gd name="connsiteX49" fmla="*/ 345977 w 532372"/>
              <a:gd name="connsiteY49" fmla="*/ 416686 h 607462"/>
              <a:gd name="connsiteX50" fmla="*/ 345419 w 532372"/>
              <a:gd name="connsiteY50" fmla="*/ 422804 h 607462"/>
              <a:gd name="connsiteX51" fmla="*/ 345977 w 532372"/>
              <a:gd name="connsiteY51" fmla="*/ 428829 h 607462"/>
              <a:gd name="connsiteX52" fmla="*/ 347835 w 532372"/>
              <a:gd name="connsiteY52" fmla="*/ 430497 h 607462"/>
              <a:gd name="connsiteX53" fmla="*/ 349694 w 532372"/>
              <a:gd name="connsiteY53" fmla="*/ 428829 h 607462"/>
              <a:gd name="connsiteX54" fmla="*/ 350251 w 532372"/>
              <a:gd name="connsiteY54" fmla="*/ 422804 h 607462"/>
              <a:gd name="connsiteX55" fmla="*/ 349694 w 532372"/>
              <a:gd name="connsiteY55" fmla="*/ 416779 h 607462"/>
              <a:gd name="connsiteX56" fmla="*/ 347835 w 532372"/>
              <a:gd name="connsiteY56" fmla="*/ 415018 h 607462"/>
              <a:gd name="connsiteX57" fmla="*/ 262521 w 532372"/>
              <a:gd name="connsiteY57" fmla="*/ 415018 h 607462"/>
              <a:gd name="connsiteX58" fmla="*/ 260662 w 532372"/>
              <a:gd name="connsiteY58" fmla="*/ 416686 h 607462"/>
              <a:gd name="connsiteX59" fmla="*/ 260198 w 532372"/>
              <a:gd name="connsiteY59" fmla="*/ 422804 h 607462"/>
              <a:gd name="connsiteX60" fmla="*/ 260662 w 532372"/>
              <a:gd name="connsiteY60" fmla="*/ 428829 h 607462"/>
              <a:gd name="connsiteX61" fmla="*/ 262521 w 532372"/>
              <a:gd name="connsiteY61" fmla="*/ 430497 h 607462"/>
              <a:gd name="connsiteX62" fmla="*/ 264379 w 532372"/>
              <a:gd name="connsiteY62" fmla="*/ 428829 h 607462"/>
              <a:gd name="connsiteX63" fmla="*/ 264937 w 532372"/>
              <a:gd name="connsiteY63" fmla="*/ 422804 h 607462"/>
              <a:gd name="connsiteX64" fmla="*/ 264379 w 532372"/>
              <a:gd name="connsiteY64" fmla="*/ 416779 h 607462"/>
              <a:gd name="connsiteX65" fmla="*/ 262521 w 532372"/>
              <a:gd name="connsiteY65" fmla="*/ 415018 h 607462"/>
              <a:gd name="connsiteX66" fmla="*/ 326302 w 532372"/>
              <a:gd name="connsiteY66" fmla="*/ 409879 h 607462"/>
              <a:gd name="connsiteX67" fmla="*/ 332593 w 532372"/>
              <a:gd name="connsiteY67" fmla="*/ 409879 h 607462"/>
              <a:gd name="connsiteX68" fmla="*/ 332593 w 532372"/>
              <a:gd name="connsiteY68" fmla="*/ 435706 h 607462"/>
              <a:gd name="connsiteX69" fmla="*/ 325469 w 532372"/>
              <a:gd name="connsiteY69" fmla="*/ 435706 h 607462"/>
              <a:gd name="connsiteX70" fmla="*/ 325469 w 532372"/>
              <a:gd name="connsiteY70" fmla="*/ 422006 h 607462"/>
              <a:gd name="connsiteX71" fmla="*/ 325562 w 532372"/>
              <a:gd name="connsiteY71" fmla="*/ 417470 h 607462"/>
              <a:gd name="connsiteX72" fmla="*/ 323989 w 532372"/>
              <a:gd name="connsiteY72" fmla="*/ 419136 h 607462"/>
              <a:gd name="connsiteX73" fmla="*/ 321029 w 532372"/>
              <a:gd name="connsiteY73" fmla="*/ 421543 h 607462"/>
              <a:gd name="connsiteX74" fmla="*/ 317421 w 532372"/>
              <a:gd name="connsiteY74" fmla="*/ 417099 h 607462"/>
              <a:gd name="connsiteX75" fmla="*/ 304962 w 532372"/>
              <a:gd name="connsiteY75" fmla="*/ 409879 h 607462"/>
              <a:gd name="connsiteX76" fmla="*/ 311282 w 532372"/>
              <a:gd name="connsiteY76" fmla="*/ 409879 h 607462"/>
              <a:gd name="connsiteX77" fmla="*/ 311282 w 532372"/>
              <a:gd name="connsiteY77" fmla="*/ 435706 h 607462"/>
              <a:gd name="connsiteX78" fmla="*/ 304125 w 532372"/>
              <a:gd name="connsiteY78" fmla="*/ 435706 h 607462"/>
              <a:gd name="connsiteX79" fmla="*/ 304125 w 532372"/>
              <a:gd name="connsiteY79" fmla="*/ 422006 h 607462"/>
              <a:gd name="connsiteX80" fmla="*/ 304311 w 532372"/>
              <a:gd name="connsiteY80" fmla="*/ 417470 h 607462"/>
              <a:gd name="connsiteX81" fmla="*/ 302638 w 532372"/>
              <a:gd name="connsiteY81" fmla="*/ 419136 h 607462"/>
              <a:gd name="connsiteX82" fmla="*/ 299664 w 532372"/>
              <a:gd name="connsiteY82" fmla="*/ 421543 h 607462"/>
              <a:gd name="connsiteX83" fmla="*/ 296040 w 532372"/>
              <a:gd name="connsiteY83" fmla="*/ 417099 h 607462"/>
              <a:gd name="connsiteX84" fmla="*/ 283580 w 532372"/>
              <a:gd name="connsiteY84" fmla="*/ 409879 h 607462"/>
              <a:gd name="connsiteX85" fmla="*/ 289900 w 532372"/>
              <a:gd name="connsiteY85" fmla="*/ 409879 h 607462"/>
              <a:gd name="connsiteX86" fmla="*/ 289900 w 532372"/>
              <a:gd name="connsiteY86" fmla="*/ 435706 h 607462"/>
              <a:gd name="connsiteX87" fmla="*/ 282836 w 532372"/>
              <a:gd name="connsiteY87" fmla="*/ 435706 h 607462"/>
              <a:gd name="connsiteX88" fmla="*/ 282836 w 532372"/>
              <a:gd name="connsiteY88" fmla="*/ 422006 h 607462"/>
              <a:gd name="connsiteX89" fmla="*/ 282929 w 532372"/>
              <a:gd name="connsiteY89" fmla="*/ 417470 h 607462"/>
              <a:gd name="connsiteX90" fmla="*/ 281256 w 532372"/>
              <a:gd name="connsiteY90" fmla="*/ 419136 h 607462"/>
              <a:gd name="connsiteX91" fmla="*/ 278282 w 532372"/>
              <a:gd name="connsiteY91" fmla="*/ 421543 h 607462"/>
              <a:gd name="connsiteX92" fmla="*/ 274658 w 532372"/>
              <a:gd name="connsiteY92" fmla="*/ 417099 h 607462"/>
              <a:gd name="connsiteX93" fmla="*/ 347835 w 532372"/>
              <a:gd name="connsiteY93" fmla="*/ 409456 h 607462"/>
              <a:gd name="connsiteX94" fmla="*/ 354897 w 532372"/>
              <a:gd name="connsiteY94" fmla="*/ 412793 h 607462"/>
              <a:gd name="connsiteX95" fmla="*/ 357220 w 532372"/>
              <a:gd name="connsiteY95" fmla="*/ 422804 h 607462"/>
              <a:gd name="connsiteX96" fmla="*/ 354897 w 532372"/>
              <a:gd name="connsiteY96" fmla="*/ 432907 h 607462"/>
              <a:gd name="connsiteX97" fmla="*/ 347835 w 532372"/>
              <a:gd name="connsiteY97" fmla="*/ 436059 h 607462"/>
              <a:gd name="connsiteX98" fmla="*/ 340773 w 532372"/>
              <a:gd name="connsiteY98" fmla="*/ 432722 h 607462"/>
              <a:gd name="connsiteX99" fmla="*/ 338450 w 532372"/>
              <a:gd name="connsiteY99" fmla="*/ 422804 h 607462"/>
              <a:gd name="connsiteX100" fmla="*/ 340773 w 532372"/>
              <a:gd name="connsiteY100" fmla="*/ 412608 h 607462"/>
              <a:gd name="connsiteX101" fmla="*/ 347835 w 532372"/>
              <a:gd name="connsiteY101" fmla="*/ 409456 h 607462"/>
              <a:gd name="connsiteX102" fmla="*/ 262521 w 532372"/>
              <a:gd name="connsiteY102" fmla="*/ 409456 h 607462"/>
              <a:gd name="connsiteX103" fmla="*/ 269583 w 532372"/>
              <a:gd name="connsiteY103" fmla="*/ 412793 h 607462"/>
              <a:gd name="connsiteX104" fmla="*/ 271906 w 532372"/>
              <a:gd name="connsiteY104" fmla="*/ 422804 h 607462"/>
              <a:gd name="connsiteX105" fmla="*/ 269676 w 532372"/>
              <a:gd name="connsiteY105" fmla="*/ 432907 h 607462"/>
              <a:gd name="connsiteX106" fmla="*/ 262521 w 532372"/>
              <a:gd name="connsiteY106" fmla="*/ 436059 h 607462"/>
              <a:gd name="connsiteX107" fmla="*/ 255552 w 532372"/>
              <a:gd name="connsiteY107" fmla="*/ 432722 h 607462"/>
              <a:gd name="connsiteX108" fmla="*/ 253136 w 532372"/>
              <a:gd name="connsiteY108" fmla="*/ 422804 h 607462"/>
              <a:gd name="connsiteX109" fmla="*/ 255459 w 532372"/>
              <a:gd name="connsiteY109" fmla="*/ 412608 h 607462"/>
              <a:gd name="connsiteX110" fmla="*/ 262521 w 532372"/>
              <a:gd name="connsiteY110" fmla="*/ 409456 h 607462"/>
              <a:gd name="connsiteX111" fmla="*/ 390456 w 532372"/>
              <a:gd name="connsiteY111" fmla="*/ 359359 h 607462"/>
              <a:gd name="connsiteX112" fmla="*/ 388598 w 532372"/>
              <a:gd name="connsiteY112" fmla="*/ 361026 h 607462"/>
              <a:gd name="connsiteX113" fmla="*/ 388133 w 532372"/>
              <a:gd name="connsiteY113" fmla="*/ 367046 h 607462"/>
              <a:gd name="connsiteX114" fmla="*/ 388598 w 532372"/>
              <a:gd name="connsiteY114" fmla="*/ 373159 h 607462"/>
              <a:gd name="connsiteX115" fmla="*/ 390456 w 532372"/>
              <a:gd name="connsiteY115" fmla="*/ 374826 h 607462"/>
              <a:gd name="connsiteX116" fmla="*/ 392315 w 532372"/>
              <a:gd name="connsiteY116" fmla="*/ 373066 h 607462"/>
              <a:gd name="connsiteX117" fmla="*/ 392872 w 532372"/>
              <a:gd name="connsiteY117" fmla="*/ 367046 h 607462"/>
              <a:gd name="connsiteX118" fmla="*/ 392315 w 532372"/>
              <a:gd name="connsiteY118" fmla="*/ 361026 h 607462"/>
              <a:gd name="connsiteX119" fmla="*/ 390456 w 532372"/>
              <a:gd name="connsiteY119" fmla="*/ 359359 h 607462"/>
              <a:gd name="connsiteX120" fmla="*/ 347835 w 532372"/>
              <a:gd name="connsiteY120" fmla="*/ 359359 h 607462"/>
              <a:gd name="connsiteX121" fmla="*/ 345977 w 532372"/>
              <a:gd name="connsiteY121" fmla="*/ 361026 h 607462"/>
              <a:gd name="connsiteX122" fmla="*/ 345419 w 532372"/>
              <a:gd name="connsiteY122" fmla="*/ 367046 h 607462"/>
              <a:gd name="connsiteX123" fmla="*/ 345977 w 532372"/>
              <a:gd name="connsiteY123" fmla="*/ 373159 h 607462"/>
              <a:gd name="connsiteX124" fmla="*/ 347835 w 532372"/>
              <a:gd name="connsiteY124" fmla="*/ 374826 h 607462"/>
              <a:gd name="connsiteX125" fmla="*/ 349694 w 532372"/>
              <a:gd name="connsiteY125" fmla="*/ 373066 h 607462"/>
              <a:gd name="connsiteX126" fmla="*/ 350251 w 532372"/>
              <a:gd name="connsiteY126" fmla="*/ 367046 h 607462"/>
              <a:gd name="connsiteX127" fmla="*/ 349694 w 532372"/>
              <a:gd name="connsiteY127" fmla="*/ 361026 h 607462"/>
              <a:gd name="connsiteX128" fmla="*/ 347835 w 532372"/>
              <a:gd name="connsiteY128" fmla="*/ 359359 h 607462"/>
              <a:gd name="connsiteX129" fmla="*/ 326489 w 532372"/>
              <a:gd name="connsiteY129" fmla="*/ 359359 h 607462"/>
              <a:gd name="connsiteX130" fmla="*/ 324637 w 532372"/>
              <a:gd name="connsiteY130" fmla="*/ 361026 h 607462"/>
              <a:gd name="connsiteX131" fmla="*/ 324174 w 532372"/>
              <a:gd name="connsiteY131" fmla="*/ 367046 h 607462"/>
              <a:gd name="connsiteX132" fmla="*/ 324637 w 532372"/>
              <a:gd name="connsiteY132" fmla="*/ 373159 h 607462"/>
              <a:gd name="connsiteX133" fmla="*/ 326489 w 532372"/>
              <a:gd name="connsiteY133" fmla="*/ 374826 h 607462"/>
              <a:gd name="connsiteX134" fmla="*/ 328340 w 532372"/>
              <a:gd name="connsiteY134" fmla="*/ 373066 h 607462"/>
              <a:gd name="connsiteX135" fmla="*/ 328896 w 532372"/>
              <a:gd name="connsiteY135" fmla="*/ 367046 h 607462"/>
              <a:gd name="connsiteX136" fmla="*/ 328340 w 532372"/>
              <a:gd name="connsiteY136" fmla="*/ 361026 h 607462"/>
              <a:gd name="connsiteX137" fmla="*/ 326489 w 532372"/>
              <a:gd name="connsiteY137" fmla="*/ 359359 h 607462"/>
              <a:gd name="connsiteX138" fmla="*/ 283902 w 532372"/>
              <a:gd name="connsiteY138" fmla="*/ 359359 h 607462"/>
              <a:gd name="connsiteX139" fmla="*/ 282043 w 532372"/>
              <a:gd name="connsiteY139" fmla="*/ 361026 h 607462"/>
              <a:gd name="connsiteX140" fmla="*/ 281486 w 532372"/>
              <a:gd name="connsiteY140" fmla="*/ 367046 h 607462"/>
              <a:gd name="connsiteX141" fmla="*/ 282043 w 532372"/>
              <a:gd name="connsiteY141" fmla="*/ 373159 h 607462"/>
              <a:gd name="connsiteX142" fmla="*/ 283902 w 532372"/>
              <a:gd name="connsiteY142" fmla="*/ 374826 h 607462"/>
              <a:gd name="connsiteX143" fmla="*/ 285760 w 532372"/>
              <a:gd name="connsiteY143" fmla="*/ 373066 h 607462"/>
              <a:gd name="connsiteX144" fmla="*/ 286318 w 532372"/>
              <a:gd name="connsiteY144" fmla="*/ 367046 h 607462"/>
              <a:gd name="connsiteX145" fmla="*/ 285760 w 532372"/>
              <a:gd name="connsiteY145" fmla="*/ 361026 h 607462"/>
              <a:gd name="connsiteX146" fmla="*/ 283902 w 532372"/>
              <a:gd name="connsiteY146" fmla="*/ 359359 h 607462"/>
              <a:gd name="connsiteX147" fmla="*/ 241281 w 532372"/>
              <a:gd name="connsiteY147" fmla="*/ 359359 h 607462"/>
              <a:gd name="connsiteX148" fmla="*/ 239422 w 532372"/>
              <a:gd name="connsiteY148" fmla="*/ 361026 h 607462"/>
              <a:gd name="connsiteX149" fmla="*/ 238865 w 532372"/>
              <a:gd name="connsiteY149" fmla="*/ 367046 h 607462"/>
              <a:gd name="connsiteX150" fmla="*/ 239422 w 532372"/>
              <a:gd name="connsiteY150" fmla="*/ 373159 h 607462"/>
              <a:gd name="connsiteX151" fmla="*/ 241281 w 532372"/>
              <a:gd name="connsiteY151" fmla="*/ 374826 h 607462"/>
              <a:gd name="connsiteX152" fmla="*/ 243139 w 532372"/>
              <a:gd name="connsiteY152" fmla="*/ 373066 h 607462"/>
              <a:gd name="connsiteX153" fmla="*/ 243604 w 532372"/>
              <a:gd name="connsiteY153" fmla="*/ 367046 h 607462"/>
              <a:gd name="connsiteX154" fmla="*/ 243139 w 532372"/>
              <a:gd name="connsiteY154" fmla="*/ 361026 h 607462"/>
              <a:gd name="connsiteX155" fmla="*/ 241281 w 532372"/>
              <a:gd name="connsiteY155" fmla="*/ 359359 h 607462"/>
              <a:gd name="connsiteX156" fmla="*/ 219878 w 532372"/>
              <a:gd name="connsiteY156" fmla="*/ 359351 h 607462"/>
              <a:gd name="connsiteX157" fmla="*/ 218021 w 532372"/>
              <a:gd name="connsiteY157" fmla="*/ 361020 h 607462"/>
              <a:gd name="connsiteX158" fmla="*/ 217464 w 532372"/>
              <a:gd name="connsiteY158" fmla="*/ 367045 h 607462"/>
              <a:gd name="connsiteX159" fmla="*/ 218021 w 532372"/>
              <a:gd name="connsiteY159" fmla="*/ 373162 h 607462"/>
              <a:gd name="connsiteX160" fmla="*/ 219878 w 532372"/>
              <a:gd name="connsiteY160" fmla="*/ 374738 h 607462"/>
              <a:gd name="connsiteX161" fmla="*/ 221735 w 532372"/>
              <a:gd name="connsiteY161" fmla="*/ 373070 h 607462"/>
              <a:gd name="connsiteX162" fmla="*/ 222293 w 532372"/>
              <a:gd name="connsiteY162" fmla="*/ 367045 h 607462"/>
              <a:gd name="connsiteX163" fmla="*/ 221735 w 532372"/>
              <a:gd name="connsiteY163" fmla="*/ 361020 h 607462"/>
              <a:gd name="connsiteX164" fmla="*/ 219878 w 532372"/>
              <a:gd name="connsiteY164" fmla="*/ 359351 h 607462"/>
              <a:gd name="connsiteX165" fmla="*/ 368924 w 532372"/>
              <a:gd name="connsiteY165" fmla="*/ 354062 h 607462"/>
              <a:gd name="connsiteX166" fmla="*/ 375215 w 532372"/>
              <a:gd name="connsiteY166" fmla="*/ 354062 h 607462"/>
              <a:gd name="connsiteX167" fmla="*/ 375215 w 532372"/>
              <a:gd name="connsiteY167" fmla="*/ 380030 h 607462"/>
              <a:gd name="connsiteX168" fmla="*/ 368092 w 532372"/>
              <a:gd name="connsiteY168" fmla="*/ 380030 h 607462"/>
              <a:gd name="connsiteX169" fmla="*/ 368092 w 532372"/>
              <a:gd name="connsiteY169" fmla="*/ 366304 h 607462"/>
              <a:gd name="connsiteX170" fmla="*/ 368277 w 532372"/>
              <a:gd name="connsiteY170" fmla="*/ 361667 h 607462"/>
              <a:gd name="connsiteX171" fmla="*/ 366612 w 532372"/>
              <a:gd name="connsiteY171" fmla="*/ 363336 h 607462"/>
              <a:gd name="connsiteX172" fmla="*/ 363651 w 532372"/>
              <a:gd name="connsiteY172" fmla="*/ 365840 h 607462"/>
              <a:gd name="connsiteX173" fmla="*/ 360043 w 532372"/>
              <a:gd name="connsiteY173" fmla="*/ 361296 h 607462"/>
              <a:gd name="connsiteX174" fmla="*/ 304962 w 532372"/>
              <a:gd name="connsiteY174" fmla="*/ 354062 h 607462"/>
              <a:gd name="connsiteX175" fmla="*/ 311282 w 532372"/>
              <a:gd name="connsiteY175" fmla="*/ 354062 h 607462"/>
              <a:gd name="connsiteX176" fmla="*/ 311282 w 532372"/>
              <a:gd name="connsiteY176" fmla="*/ 380030 h 607462"/>
              <a:gd name="connsiteX177" fmla="*/ 304125 w 532372"/>
              <a:gd name="connsiteY177" fmla="*/ 380030 h 607462"/>
              <a:gd name="connsiteX178" fmla="*/ 304125 w 532372"/>
              <a:gd name="connsiteY178" fmla="*/ 366304 h 607462"/>
              <a:gd name="connsiteX179" fmla="*/ 304311 w 532372"/>
              <a:gd name="connsiteY179" fmla="*/ 361667 h 607462"/>
              <a:gd name="connsiteX180" fmla="*/ 302638 w 532372"/>
              <a:gd name="connsiteY180" fmla="*/ 363336 h 607462"/>
              <a:gd name="connsiteX181" fmla="*/ 299664 w 532372"/>
              <a:gd name="connsiteY181" fmla="*/ 365840 h 607462"/>
              <a:gd name="connsiteX182" fmla="*/ 296040 w 532372"/>
              <a:gd name="connsiteY182" fmla="*/ 361296 h 607462"/>
              <a:gd name="connsiteX183" fmla="*/ 262340 w 532372"/>
              <a:gd name="connsiteY183" fmla="*/ 354062 h 607462"/>
              <a:gd name="connsiteX184" fmla="*/ 268660 w 532372"/>
              <a:gd name="connsiteY184" fmla="*/ 354062 h 607462"/>
              <a:gd name="connsiteX185" fmla="*/ 268660 w 532372"/>
              <a:gd name="connsiteY185" fmla="*/ 380030 h 607462"/>
              <a:gd name="connsiteX186" fmla="*/ 261503 w 532372"/>
              <a:gd name="connsiteY186" fmla="*/ 380030 h 607462"/>
              <a:gd name="connsiteX187" fmla="*/ 261503 w 532372"/>
              <a:gd name="connsiteY187" fmla="*/ 366304 h 607462"/>
              <a:gd name="connsiteX188" fmla="*/ 261596 w 532372"/>
              <a:gd name="connsiteY188" fmla="*/ 361667 h 607462"/>
              <a:gd name="connsiteX189" fmla="*/ 260016 w 532372"/>
              <a:gd name="connsiteY189" fmla="*/ 363336 h 607462"/>
              <a:gd name="connsiteX190" fmla="*/ 257042 w 532372"/>
              <a:gd name="connsiteY190" fmla="*/ 365840 h 607462"/>
              <a:gd name="connsiteX191" fmla="*/ 253418 w 532372"/>
              <a:gd name="connsiteY191" fmla="*/ 361296 h 607462"/>
              <a:gd name="connsiteX192" fmla="*/ 390456 w 532372"/>
              <a:gd name="connsiteY192" fmla="*/ 353709 h 607462"/>
              <a:gd name="connsiteX193" fmla="*/ 397518 w 532372"/>
              <a:gd name="connsiteY193" fmla="*/ 357043 h 607462"/>
              <a:gd name="connsiteX194" fmla="*/ 399841 w 532372"/>
              <a:gd name="connsiteY194" fmla="*/ 367046 h 607462"/>
              <a:gd name="connsiteX195" fmla="*/ 397611 w 532372"/>
              <a:gd name="connsiteY195" fmla="*/ 377141 h 607462"/>
              <a:gd name="connsiteX196" fmla="*/ 390456 w 532372"/>
              <a:gd name="connsiteY196" fmla="*/ 380383 h 607462"/>
              <a:gd name="connsiteX197" fmla="*/ 383487 w 532372"/>
              <a:gd name="connsiteY197" fmla="*/ 377049 h 607462"/>
              <a:gd name="connsiteX198" fmla="*/ 381071 w 532372"/>
              <a:gd name="connsiteY198" fmla="*/ 367046 h 607462"/>
              <a:gd name="connsiteX199" fmla="*/ 383394 w 532372"/>
              <a:gd name="connsiteY199" fmla="*/ 356951 h 607462"/>
              <a:gd name="connsiteX200" fmla="*/ 390456 w 532372"/>
              <a:gd name="connsiteY200" fmla="*/ 353709 h 607462"/>
              <a:gd name="connsiteX201" fmla="*/ 347835 w 532372"/>
              <a:gd name="connsiteY201" fmla="*/ 353709 h 607462"/>
              <a:gd name="connsiteX202" fmla="*/ 354897 w 532372"/>
              <a:gd name="connsiteY202" fmla="*/ 357043 h 607462"/>
              <a:gd name="connsiteX203" fmla="*/ 357220 w 532372"/>
              <a:gd name="connsiteY203" fmla="*/ 367046 h 607462"/>
              <a:gd name="connsiteX204" fmla="*/ 354897 w 532372"/>
              <a:gd name="connsiteY204" fmla="*/ 377141 h 607462"/>
              <a:gd name="connsiteX205" fmla="*/ 347835 w 532372"/>
              <a:gd name="connsiteY205" fmla="*/ 380383 h 607462"/>
              <a:gd name="connsiteX206" fmla="*/ 340773 w 532372"/>
              <a:gd name="connsiteY206" fmla="*/ 377049 h 607462"/>
              <a:gd name="connsiteX207" fmla="*/ 338450 w 532372"/>
              <a:gd name="connsiteY207" fmla="*/ 367046 h 607462"/>
              <a:gd name="connsiteX208" fmla="*/ 340773 w 532372"/>
              <a:gd name="connsiteY208" fmla="*/ 356951 h 607462"/>
              <a:gd name="connsiteX209" fmla="*/ 347835 w 532372"/>
              <a:gd name="connsiteY209" fmla="*/ 353709 h 607462"/>
              <a:gd name="connsiteX210" fmla="*/ 326489 w 532372"/>
              <a:gd name="connsiteY210" fmla="*/ 353709 h 607462"/>
              <a:gd name="connsiteX211" fmla="*/ 333524 w 532372"/>
              <a:gd name="connsiteY211" fmla="*/ 357043 h 607462"/>
              <a:gd name="connsiteX212" fmla="*/ 335839 w 532372"/>
              <a:gd name="connsiteY212" fmla="*/ 367046 h 607462"/>
              <a:gd name="connsiteX213" fmla="*/ 333617 w 532372"/>
              <a:gd name="connsiteY213" fmla="*/ 377141 h 607462"/>
              <a:gd name="connsiteX214" fmla="*/ 326489 w 532372"/>
              <a:gd name="connsiteY214" fmla="*/ 380383 h 607462"/>
              <a:gd name="connsiteX215" fmla="*/ 319546 w 532372"/>
              <a:gd name="connsiteY215" fmla="*/ 377049 h 607462"/>
              <a:gd name="connsiteX216" fmla="*/ 317139 w 532372"/>
              <a:gd name="connsiteY216" fmla="*/ 367046 h 607462"/>
              <a:gd name="connsiteX217" fmla="*/ 319453 w 532372"/>
              <a:gd name="connsiteY217" fmla="*/ 356951 h 607462"/>
              <a:gd name="connsiteX218" fmla="*/ 326489 w 532372"/>
              <a:gd name="connsiteY218" fmla="*/ 353709 h 607462"/>
              <a:gd name="connsiteX219" fmla="*/ 283902 w 532372"/>
              <a:gd name="connsiteY219" fmla="*/ 353709 h 607462"/>
              <a:gd name="connsiteX220" fmla="*/ 290964 w 532372"/>
              <a:gd name="connsiteY220" fmla="*/ 357043 h 607462"/>
              <a:gd name="connsiteX221" fmla="*/ 293287 w 532372"/>
              <a:gd name="connsiteY221" fmla="*/ 367046 h 607462"/>
              <a:gd name="connsiteX222" fmla="*/ 290964 w 532372"/>
              <a:gd name="connsiteY222" fmla="*/ 377141 h 607462"/>
              <a:gd name="connsiteX223" fmla="*/ 283902 w 532372"/>
              <a:gd name="connsiteY223" fmla="*/ 380383 h 607462"/>
              <a:gd name="connsiteX224" fmla="*/ 276840 w 532372"/>
              <a:gd name="connsiteY224" fmla="*/ 377049 h 607462"/>
              <a:gd name="connsiteX225" fmla="*/ 274517 w 532372"/>
              <a:gd name="connsiteY225" fmla="*/ 367046 h 607462"/>
              <a:gd name="connsiteX226" fmla="*/ 276840 w 532372"/>
              <a:gd name="connsiteY226" fmla="*/ 356951 h 607462"/>
              <a:gd name="connsiteX227" fmla="*/ 283902 w 532372"/>
              <a:gd name="connsiteY227" fmla="*/ 353709 h 607462"/>
              <a:gd name="connsiteX228" fmla="*/ 241281 w 532372"/>
              <a:gd name="connsiteY228" fmla="*/ 353709 h 607462"/>
              <a:gd name="connsiteX229" fmla="*/ 248250 w 532372"/>
              <a:gd name="connsiteY229" fmla="*/ 357043 h 607462"/>
              <a:gd name="connsiteX230" fmla="*/ 250666 w 532372"/>
              <a:gd name="connsiteY230" fmla="*/ 367046 h 607462"/>
              <a:gd name="connsiteX231" fmla="*/ 248343 w 532372"/>
              <a:gd name="connsiteY231" fmla="*/ 377141 h 607462"/>
              <a:gd name="connsiteX232" fmla="*/ 241281 w 532372"/>
              <a:gd name="connsiteY232" fmla="*/ 380383 h 607462"/>
              <a:gd name="connsiteX233" fmla="*/ 234219 w 532372"/>
              <a:gd name="connsiteY233" fmla="*/ 377049 h 607462"/>
              <a:gd name="connsiteX234" fmla="*/ 231896 w 532372"/>
              <a:gd name="connsiteY234" fmla="*/ 367046 h 607462"/>
              <a:gd name="connsiteX235" fmla="*/ 234126 w 532372"/>
              <a:gd name="connsiteY235" fmla="*/ 356951 h 607462"/>
              <a:gd name="connsiteX236" fmla="*/ 241281 w 532372"/>
              <a:gd name="connsiteY236" fmla="*/ 353709 h 607462"/>
              <a:gd name="connsiteX237" fmla="*/ 153215 w 532372"/>
              <a:gd name="connsiteY237" fmla="*/ 349475 h 607462"/>
              <a:gd name="connsiteX238" fmla="*/ 152472 w 532372"/>
              <a:gd name="connsiteY238" fmla="*/ 364679 h 607462"/>
              <a:gd name="connsiteX239" fmla="*/ 153215 w 532372"/>
              <a:gd name="connsiteY239" fmla="*/ 379698 h 607462"/>
              <a:gd name="connsiteX240" fmla="*/ 42391 w 532372"/>
              <a:gd name="connsiteY240" fmla="*/ 438475 h 607462"/>
              <a:gd name="connsiteX241" fmla="*/ 37286 w 532372"/>
              <a:gd name="connsiteY241" fmla="*/ 439587 h 607462"/>
              <a:gd name="connsiteX242" fmla="*/ 25405 w 532372"/>
              <a:gd name="connsiteY242" fmla="*/ 431707 h 607462"/>
              <a:gd name="connsiteX243" fmla="*/ 32181 w 532372"/>
              <a:gd name="connsiteY243" fmla="*/ 414649 h 607462"/>
              <a:gd name="connsiteX244" fmla="*/ 153215 w 532372"/>
              <a:gd name="connsiteY244" fmla="*/ 349475 h 607462"/>
              <a:gd name="connsiteX245" fmla="*/ 326489 w 532372"/>
              <a:gd name="connsiteY245" fmla="*/ 303524 h 607462"/>
              <a:gd name="connsiteX246" fmla="*/ 324637 w 532372"/>
              <a:gd name="connsiteY246" fmla="*/ 305192 h 607462"/>
              <a:gd name="connsiteX247" fmla="*/ 324174 w 532372"/>
              <a:gd name="connsiteY247" fmla="*/ 311310 h 607462"/>
              <a:gd name="connsiteX248" fmla="*/ 324637 w 532372"/>
              <a:gd name="connsiteY248" fmla="*/ 317335 h 607462"/>
              <a:gd name="connsiteX249" fmla="*/ 326489 w 532372"/>
              <a:gd name="connsiteY249" fmla="*/ 319003 h 607462"/>
              <a:gd name="connsiteX250" fmla="*/ 328340 w 532372"/>
              <a:gd name="connsiteY250" fmla="*/ 317335 h 607462"/>
              <a:gd name="connsiteX251" fmla="*/ 328896 w 532372"/>
              <a:gd name="connsiteY251" fmla="*/ 311310 h 607462"/>
              <a:gd name="connsiteX252" fmla="*/ 328340 w 532372"/>
              <a:gd name="connsiteY252" fmla="*/ 305285 h 607462"/>
              <a:gd name="connsiteX253" fmla="*/ 326489 w 532372"/>
              <a:gd name="connsiteY253" fmla="*/ 303524 h 607462"/>
              <a:gd name="connsiteX254" fmla="*/ 305213 w 532372"/>
              <a:gd name="connsiteY254" fmla="*/ 303524 h 607462"/>
              <a:gd name="connsiteX255" fmla="*/ 303354 w 532372"/>
              <a:gd name="connsiteY255" fmla="*/ 305192 h 607462"/>
              <a:gd name="connsiteX256" fmla="*/ 302797 w 532372"/>
              <a:gd name="connsiteY256" fmla="*/ 311310 h 607462"/>
              <a:gd name="connsiteX257" fmla="*/ 303354 w 532372"/>
              <a:gd name="connsiteY257" fmla="*/ 317335 h 607462"/>
              <a:gd name="connsiteX258" fmla="*/ 305213 w 532372"/>
              <a:gd name="connsiteY258" fmla="*/ 319003 h 607462"/>
              <a:gd name="connsiteX259" fmla="*/ 307071 w 532372"/>
              <a:gd name="connsiteY259" fmla="*/ 317335 h 607462"/>
              <a:gd name="connsiteX260" fmla="*/ 307629 w 532372"/>
              <a:gd name="connsiteY260" fmla="*/ 311310 h 607462"/>
              <a:gd name="connsiteX261" fmla="*/ 307071 w 532372"/>
              <a:gd name="connsiteY261" fmla="*/ 305285 h 607462"/>
              <a:gd name="connsiteX262" fmla="*/ 305213 w 532372"/>
              <a:gd name="connsiteY262" fmla="*/ 303524 h 607462"/>
              <a:gd name="connsiteX263" fmla="*/ 262521 w 532372"/>
              <a:gd name="connsiteY263" fmla="*/ 303524 h 607462"/>
              <a:gd name="connsiteX264" fmla="*/ 260662 w 532372"/>
              <a:gd name="connsiteY264" fmla="*/ 305192 h 607462"/>
              <a:gd name="connsiteX265" fmla="*/ 260198 w 532372"/>
              <a:gd name="connsiteY265" fmla="*/ 311310 h 607462"/>
              <a:gd name="connsiteX266" fmla="*/ 260662 w 532372"/>
              <a:gd name="connsiteY266" fmla="*/ 317335 h 607462"/>
              <a:gd name="connsiteX267" fmla="*/ 262521 w 532372"/>
              <a:gd name="connsiteY267" fmla="*/ 319003 h 607462"/>
              <a:gd name="connsiteX268" fmla="*/ 264379 w 532372"/>
              <a:gd name="connsiteY268" fmla="*/ 317335 h 607462"/>
              <a:gd name="connsiteX269" fmla="*/ 264937 w 532372"/>
              <a:gd name="connsiteY269" fmla="*/ 311310 h 607462"/>
              <a:gd name="connsiteX270" fmla="*/ 264379 w 532372"/>
              <a:gd name="connsiteY270" fmla="*/ 305285 h 607462"/>
              <a:gd name="connsiteX271" fmla="*/ 262521 w 532372"/>
              <a:gd name="connsiteY271" fmla="*/ 303524 h 607462"/>
              <a:gd name="connsiteX272" fmla="*/ 368924 w 532372"/>
              <a:gd name="connsiteY272" fmla="*/ 298315 h 607462"/>
              <a:gd name="connsiteX273" fmla="*/ 375215 w 532372"/>
              <a:gd name="connsiteY273" fmla="*/ 298315 h 607462"/>
              <a:gd name="connsiteX274" fmla="*/ 375215 w 532372"/>
              <a:gd name="connsiteY274" fmla="*/ 324283 h 607462"/>
              <a:gd name="connsiteX275" fmla="*/ 368092 w 532372"/>
              <a:gd name="connsiteY275" fmla="*/ 324283 h 607462"/>
              <a:gd name="connsiteX276" fmla="*/ 368092 w 532372"/>
              <a:gd name="connsiteY276" fmla="*/ 310464 h 607462"/>
              <a:gd name="connsiteX277" fmla="*/ 368277 w 532372"/>
              <a:gd name="connsiteY277" fmla="*/ 305920 h 607462"/>
              <a:gd name="connsiteX278" fmla="*/ 366612 w 532372"/>
              <a:gd name="connsiteY278" fmla="*/ 307589 h 607462"/>
              <a:gd name="connsiteX279" fmla="*/ 363651 w 532372"/>
              <a:gd name="connsiteY279" fmla="*/ 310001 h 607462"/>
              <a:gd name="connsiteX280" fmla="*/ 360043 w 532372"/>
              <a:gd name="connsiteY280" fmla="*/ 305549 h 607462"/>
              <a:gd name="connsiteX281" fmla="*/ 347583 w 532372"/>
              <a:gd name="connsiteY281" fmla="*/ 298315 h 607462"/>
              <a:gd name="connsiteX282" fmla="*/ 353903 w 532372"/>
              <a:gd name="connsiteY282" fmla="*/ 298315 h 607462"/>
              <a:gd name="connsiteX283" fmla="*/ 353903 w 532372"/>
              <a:gd name="connsiteY283" fmla="*/ 324283 h 607462"/>
              <a:gd name="connsiteX284" fmla="*/ 346840 w 532372"/>
              <a:gd name="connsiteY284" fmla="*/ 324283 h 607462"/>
              <a:gd name="connsiteX285" fmla="*/ 346840 w 532372"/>
              <a:gd name="connsiteY285" fmla="*/ 310464 h 607462"/>
              <a:gd name="connsiteX286" fmla="*/ 346933 w 532372"/>
              <a:gd name="connsiteY286" fmla="*/ 305920 h 607462"/>
              <a:gd name="connsiteX287" fmla="*/ 345260 w 532372"/>
              <a:gd name="connsiteY287" fmla="*/ 307589 h 607462"/>
              <a:gd name="connsiteX288" fmla="*/ 342286 w 532372"/>
              <a:gd name="connsiteY288" fmla="*/ 310001 h 607462"/>
              <a:gd name="connsiteX289" fmla="*/ 338661 w 532372"/>
              <a:gd name="connsiteY289" fmla="*/ 305549 h 607462"/>
              <a:gd name="connsiteX290" fmla="*/ 283580 w 532372"/>
              <a:gd name="connsiteY290" fmla="*/ 298315 h 607462"/>
              <a:gd name="connsiteX291" fmla="*/ 289900 w 532372"/>
              <a:gd name="connsiteY291" fmla="*/ 298315 h 607462"/>
              <a:gd name="connsiteX292" fmla="*/ 289900 w 532372"/>
              <a:gd name="connsiteY292" fmla="*/ 324283 h 607462"/>
              <a:gd name="connsiteX293" fmla="*/ 282836 w 532372"/>
              <a:gd name="connsiteY293" fmla="*/ 324283 h 607462"/>
              <a:gd name="connsiteX294" fmla="*/ 282836 w 532372"/>
              <a:gd name="connsiteY294" fmla="*/ 310464 h 607462"/>
              <a:gd name="connsiteX295" fmla="*/ 282929 w 532372"/>
              <a:gd name="connsiteY295" fmla="*/ 305920 h 607462"/>
              <a:gd name="connsiteX296" fmla="*/ 281256 w 532372"/>
              <a:gd name="connsiteY296" fmla="*/ 307589 h 607462"/>
              <a:gd name="connsiteX297" fmla="*/ 278282 w 532372"/>
              <a:gd name="connsiteY297" fmla="*/ 310001 h 607462"/>
              <a:gd name="connsiteX298" fmla="*/ 274658 w 532372"/>
              <a:gd name="connsiteY298" fmla="*/ 305549 h 607462"/>
              <a:gd name="connsiteX299" fmla="*/ 240959 w 532372"/>
              <a:gd name="connsiteY299" fmla="*/ 298315 h 607462"/>
              <a:gd name="connsiteX300" fmla="*/ 247279 w 532372"/>
              <a:gd name="connsiteY300" fmla="*/ 298315 h 607462"/>
              <a:gd name="connsiteX301" fmla="*/ 247279 w 532372"/>
              <a:gd name="connsiteY301" fmla="*/ 324283 h 607462"/>
              <a:gd name="connsiteX302" fmla="*/ 240122 w 532372"/>
              <a:gd name="connsiteY302" fmla="*/ 324283 h 607462"/>
              <a:gd name="connsiteX303" fmla="*/ 240122 w 532372"/>
              <a:gd name="connsiteY303" fmla="*/ 310464 h 607462"/>
              <a:gd name="connsiteX304" fmla="*/ 240308 w 532372"/>
              <a:gd name="connsiteY304" fmla="*/ 305920 h 607462"/>
              <a:gd name="connsiteX305" fmla="*/ 238635 w 532372"/>
              <a:gd name="connsiteY305" fmla="*/ 307589 h 607462"/>
              <a:gd name="connsiteX306" fmla="*/ 235661 w 532372"/>
              <a:gd name="connsiteY306" fmla="*/ 310001 h 607462"/>
              <a:gd name="connsiteX307" fmla="*/ 232037 w 532372"/>
              <a:gd name="connsiteY307" fmla="*/ 305549 h 607462"/>
              <a:gd name="connsiteX308" fmla="*/ 326489 w 532372"/>
              <a:gd name="connsiteY308" fmla="*/ 297962 h 607462"/>
              <a:gd name="connsiteX309" fmla="*/ 333524 w 532372"/>
              <a:gd name="connsiteY309" fmla="*/ 301299 h 607462"/>
              <a:gd name="connsiteX310" fmla="*/ 335839 w 532372"/>
              <a:gd name="connsiteY310" fmla="*/ 311310 h 607462"/>
              <a:gd name="connsiteX311" fmla="*/ 333617 w 532372"/>
              <a:gd name="connsiteY311" fmla="*/ 321413 h 607462"/>
              <a:gd name="connsiteX312" fmla="*/ 326489 w 532372"/>
              <a:gd name="connsiteY312" fmla="*/ 324565 h 607462"/>
              <a:gd name="connsiteX313" fmla="*/ 319546 w 532372"/>
              <a:gd name="connsiteY313" fmla="*/ 321228 h 607462"/>
              <a:gd name="connsiteX314" fmla="*/ 317139 w 532372"/>
              <a:gd name="connsiteY314" fmla="*/ 311310 h 607462"/>
              <a:gd name="connsiteX315" fmla="*/ 319453 w 532372"/>
              <a:gd name="connsiteY315" fmla="*/ 301206 h 607462"/>
              <a:gd name="connsiteX316" fmla="*/ 326489 w 532372"/>
              <a:gd name="connsiteY316" fmla="*/ 297962 h 607462"/>
              <a:gd name="connsiteX317" fmla="*/ 305213 w 532372"/>
              <a:gd name="connsiteY317" fmla="*/ 297962 h 607462"/>
              <a:gd name="connsiteX318" fmla="*/ 312182 w 532372"/>
              <a:gd name="connsiteY318" fmla="*/ 301299 h 607462"/>
              <a:gd name="connsiteX319" fmla="*/ 314598 w 532372"/>
              <a:gd name="connsiteY319" fmla="*/ 311310 h 607462"/>
              <a:gd name="connsiteX320" fmla="*/ 312275 w 532372"/>
              <a:gd name="connsiteY320" fmla="*/ 321413 h 607462"/>
              <a:gd name="connsiteX321" fmla="*/ 305213 w 532372"/>
              <a:gd name="connsiteY321" fmla="*/ 324565 h 607462"/>
              <a:gd name="connsiteX322" fmla="*/ 298151 w 532372"/>
              <a:gd name="connsiteY322" fmla="*/ 321228 h 607462"/>
              <a:gd name="connsiteX323" fmla="*/ 295828 w 532372"/>
              <a:gd name="connsiteY323" fmla="*/ 311310 h 607462"/>
              <a:gd name="connsiteX324" fmla="*/ 298151 w 532372"/>
              <a:gd name="connsiteY324" fmla="*/ 301206 h 607462"/>
              <a:gd name="connsiteX325" fmla="*/ 305213 w 532372"/>
              <a:gd name="connsiteY325" fmla="*/ 297962 h 607462"/>
              <a:gd name="connsiteX326" fmla="*/ 262521 w 532372"/>
              <a:gd name="connsiteY326" fmla="*/ 297962 h 607462"/>
              <a:gd name="connsiteX327" fmla="*/ 269583 w 532372"/>
              <a:gd name="connsiteY327" fmla="*/ 301299 h 607462"/>
              <a:gd name="connsiteX328" fmla="*/ 271906 w 532372"/>
              <a:gd name="connsiteY328" fmla="*/ 311310 h 607462"/>
              <a:gd name="connsiteX329" fmla="*/ 269676 w 532372"/>
              <a:gd name="connsiteY329" fmla="*/ 321413 h 607462"/>
              <a:gd name="connsiteX330" fmla="*/ 262521 w 532372"/>
              <a:gd name="connsiteY330" fmla="*/ 324565 h 607462"/>
              <a:gd name="connsiteX331" fmla="*/ 255552 w 532372"/>
              <a:gd name="connsiteY331" fmla="*/ 321228 h 607462"/>
              <a:gd name="connsiteX332" fmla="*/ 253136 w 532372"/>
              <a:gd name="connsiteY332" fmla="*/ 311310 h 607462"/>
              <a:gd name="connsiteX333" fmla="*/ 255459 w 532372"/>
              <a:gd name="connsiteY333" fmla="*/ 301206 h 607462"/>
              <a:gd name="connsiteX334" fmla="*/ 262521 w 532372"/>
              <a:gd name="connsiteY334" fmla="*/ 297962 h 607462"/>
              <a:gd name="connsiteX335" fmla="*/ 307067 w 532372"/>
              <a:gd name="connsiteY335" fmla="*/ 266195 h 607462"/>
              <a:gd name="connsiteX336" fmla="*/ 228885 w 532372"/>
              <a:gd name="connsiteY336" fmla="*/ 306702 h 607462"/>
              <a:gd name="connsiteX337" fmla="*/ 229257 w 532372"/>
              <a:gd name="connsiteY337" fmla="*/ 311337 h 607462"/>
              <a:gd name="connsiteX338" fmla="*/ 226935 w 532372"/>
              <a:gd name="connsiteY338" fmla="*/ 321440 h 607462"/>
              <a:gd name="connsiteX339" fmla="*/ 219878 w 532372"/>
              <a:gd name="connsiteY339" fmla="*/ 324592 h 607462"/>
              <a:gd name="connsiteX340" fmla="*/ 218950 w 532372"/>
              <a:gd name="connsiteY340" fmla="*/ 324592 h 607462"/>
              <a:gd name="connsiteX341" fmla="*/ 211429 w 532372"/>
              <a:gd name="connsiteY341" fmla="*/ 359815 h 607462"/>
              <a:gd name="connsiteX342" fmla="*/ 212822 w 532372"/>
              <a:gd name="connsiteY342" fmla="*/ 356941 h 607462"/>
              <a:gd name="connsiteX343" fmla="*/ 219878 w 532372"/>
              <a:gd name="connsiteY343" fmla="*/ 353697 h 607462"/>
              <a:gd name="connsiteX344" fmla="*/ 226935 w 532372"/>
              <a:gd name="connsiteY344" fmla="*/ 357034 h 607462"/>
              <a:gd name="connsiteX345" fmla="*/ 229257 w 532372"/>
              <a:gd name="connsiteY345" fmla="*/ 367045 h 607462"/>
              <a:gd name="connsiteX346" fmla="*/ 226935 w 532372"/>
              <a:gd name="connsiteY346" fmla="*/ 377148 h 607462"/>
              <a:gd name="connsiteX347" fmla="*/ 219878 w 532372"/>
              <a:gd name="connsiteY347" fmla="*/ 380392 h 607462"/>
              <a:gd name="connsiteX348" fmla="*/ 212822 w 532372"/>
              <a:gd name="connsiteY348" fmla="*/ 377056 h 607462"/>
              <a:gd name="connsiteX349" fmla="*/ 212543 w 532372"/>
              <a:gd name="connsiteY349" fmla="*/ 376499 h 607462"/>
              <a:gd name="connsiteX350" fmla="*/ 225078 w 532372"/>
              <a:gd name="connsiteY350" fmla="*/ 410981 h 607462"/>
              <a:gd name="connsiteX351" fmla="*/ 226842 w 532372"/>
              <a:gd name="connsiteY351" fmla="*/ 412835 h 607462"/>
              <a:gd name="connsiteX352" fmla="*/ 228421 w 532372"/>
              <a:gd name="connsiteY352" fmla="*/ 416079 h 607462"/>
              <a:gd name="connsiteX353" fmla="*/ 231856 w 532372"/>
              <a:gd name="connsiteY353" fmla="*/ 420714 h 607462"/>
              <a:gd name="connsiteX354" fmla="*/ 234085 w 532372"/>
              <a:gd name="connsiteY354" fmla="*/ 412649 h 607462"/>
              <a:gd name="connsiteX355" fmla="*/ 241234 w 532372"/>
              <a:gd name="connsiteY355" fmla="*/ 409498 h 607462"/>
              <a:gd name="connsiteX356" fmla="*/ 248198 w 532372"/>
              <a:gd name="connsiteY356" fmla="*/ 412835 h 607462"/>
              <a:gd name="connsiteX357" fmla="*/ 250612 w 532372"/>
              <a:gd name="connsiteY357" fmla="*/ 422846 h 607462"/>
              <a:gd name="connsiteX358" fmla="*/ 248291 w 532372"/>
              <a:gd name="connsiteY358" fmla="*/ 432949 h 607462"/>
              <a:gd name="connsiteX359" fmla="*/ 245784 w 532372"/>
              <a:gd name="connsiteY359" fmla="*/ 435081 h 607462"/>
              <a:gd name="connsiteX360" fmla="*/ 307067 w 532372"/>
              <a:gd name="connsiteY360" fmla="*/ 457235 h 607462"/>
              <a:gd name="connsiteX361" fmla="*/ 368071 w 532372"/>
              <a:gd name="connsiteY361" fmla="*/ 435266 h 607462"/>
              <a:gd name="connsiteX362" fmla="*/ 368071 w 532372"/>
              <a:gd name="connsiteY362" fmla="*/ 422011 h 607462"/>
              <a:gd name="connsiteX363" fmla="*/ 368257 w 532372"/>
              <a:gd name="connsiteY363" fmla="*/ 417469 h 607462"/>
              <a:gd name="connsiteX364" fmla="*/ 366585 w 532372"/>
              <a:gd name="connsiteY364" fmla="*/ 419138 h 607462"/>
              <a:gd name="connsiteX365" fmla="*/ 363614 w 532372"/>
              <a:gd name="connsiteY365" fmla="*/ 421548 h 607462"/>
              <a:gd name="connsiteX366" fmla="*/ 359993 w 532372"/>
              <a:gd name="connsiteY366" fmla="*/ 417099 h 607462"/>
              <a:gd name="connsiteX367" fmla="*/ 368907 w 532372"/>
              <a:gd name="connsiteY367" fmla="*/ 409869 h 607462"/>
              <a:gd name="connsiteX368" fmla="*/ 375220 w 532372"/>
              <a:gd name="connsiteY368" fmla="*/ 409869 h 607462"/>
              <a:gd name="connsiteX369" fmla="*/ 375220 w 532372"/>
              <a:gd name="connsiteY369" fmla="*/ 428685 h 607462"/>
              <a:gd name="connsiteX370" fmla="*/ 381070 w 532372"/>
              <a:gd name="connsiteY370" fmla="*/ 422197 h 607462"/>
              <a:gd name="connsiteX371" fmla="*/ 383391 w 532372"/>
              <a:gd name="connsiteY371" fmla="*/ 412649 h 607462"/>
              <a:gd name="connsiteX372" fmla="*/ 389891 w 532372"/>
              <a:gd name="connsiteY372" fmla="*/ 409498 h 607462"/>
              <a:gd name="connsiteX373" fmla="*/ 402705 w 532372"/>
              <a:gd name="connsiteY373" fmla="*/ 361761 h 607462"/>
              <a:gd name="connsiteX374" fmla="*/ 395091 w 532372"/>
              <a:gd name="connsiteY374" fmla="*/ 324221 h 607462"/>
              <a:gd name="connsiteX375" fmla="*/ 389427 w 532372"/>
              <a:gd name="connsiteY375" fmla="*/ 324221 h 607462"/>
              <a:gd name="connsiteX376" fmla="*/ 389427 w 532372"/>
              <a:gd name="connsiteY376" fmla="*/ 313190 h 607462"/>
              <a:gd name="connsiteX377" fmla="*/ 386641 w 532372"/>
              <a:gd name="connsiteY377" fmla="*/ 308741 h 607462"/>
              <a:gd name="connsiteX378" fmla="*/ 384970 w 532372"/>
              <a:gd name="connsiteY378" fmla="*/ 310039 h 607462"/>
              <a:gd name="connsiteX379" fmla="*/ 381349 w 532372"/>
              <a:gd name="connsiteY379" fmla="*/ 305590 h 607462"/>
              <a:gd name="connsiteX380" fmla="*/ 383206 w 532372"/>
              <a:gd name="connsiteY380" fmla="*/ 304014 h 607462"/>
              <a:gd name="connsiteX381" fmla="*/ 307067 w 532372"/>
              <a:gd name="connsiteY381" fmla="*/ 266195 h 607462"/>
              <a:gd name="connsiteX382" fmla="*/ 307067 w 532372"/>
              <a:gd name="connsiteY382" fmla="*/ 232548 h 607462"/>
              <a:gd name="connsiteX383" fmla="*/ 436503 w 532372"/>
              <a:gd name="connsiteY383" fmla="*/ 361761 h 607462"/>
              <a:gd name="connsiteX384" fmla="*/ 408462 w 532372"/>
              <a:gd name="connsiteY384" fmla="*/ 442033 h 607462"/>
              <a:gd name="connsiteX385" fmla="*/ 524991 w 532372"/>
              <a:gd name="connsiteY385" fmla="*/ 558362 h 607462"/>
              <a:gd name="connsiteX386" fmla="*/ 524991 w 532372"/>
              <a:gd name="connsiteY386" fmla="*/ 594141 h 607462"/>
              <a:gd name="connsiteX387" fmla="*/ 507070 w 532372"/>
              <a:gd name="connsiteY387" fmla="*/ 601464 h 607462"/>
              <a:gd name="connsiteX388" fmla="*/ 489150 w 532372"/>
              <a:gd name="connsiteY388" fmla="*/ 594141 h 607462"/>
              <a:gd name="connsiteX389" fmla="*/ 369649 w 532372"/>
              <a:gd name="connsiteY389" fmla="*/ 474846 h 607462"/>
              <a:gd name="connsiteX390" fmla="*/ 307067 w 532372"/>
              <a:gd name="connsiteY390" fmla="*/ 490975 h 607462"/>
              <a:gd name="connsiteX391" fmla="*/ 177631 w 532372"/>
              <a:gd name="connsiteY391" fmla="*/ 361761 h 607462"/>
              <a:gd name="connsiteX392" fmla="*/ 307067 w 532372"/>
              <a:gd name="connsiteY392" fmla="*/ 232548 h 607462"/>
              <a:gd name="connsiteX393" fmla="*/ 267052 w 532372"/>
              <a:gd name="connsiteY393" fmla="*/ 174469 h 607462"/>
              <a:gd name="connsiteX394" fmla="*/ 276731 w 532372"/>
              <a:gd name="connsiteY394" fmla="*/ 176740 h 607462"/>
              <a:gd name="connsiteX395" fmla="*/ 279795 w 532372"/>
              <a:gd name="connsiteY395" fmla="*/ 194817 h 607462"/>
              <a:gd name="connsiteX396" fmla="*/ 257419 w 532372"/>
              <a:gd name="connsiteY396" fmla="*/ 222907 h 607462"/>
              <a:gd name="connsiteX397" fmla="*/ 166894 w 532372"/>
              <a:gd name="connsiteY397" fmla="*/ 301057 h 607462"/>
              <a:gd name="connsiteX398" fmla="*/ 25676 w 532372"/>
              <a:gd name="connsiteY398" fmla="*/ 371976 h 607462"/>
              <a:gd name="connsiteX399" fmla="*/ 25212 w 532372"/>
              <a:gd name="connsiteY399" fmla="*/ 372069 h 607462"/>
              <a:gd name="connsiteX400" fmla="*/ 20755 w 532372"/>
              <a:gd name="connsiteY400" fmla="*/ 372903 h 607462"/>
              <a:gd name="connsiteX401" fmla="*/ 8593 w 532372"/>
              <a:gd name="connsiteY401" fmla="*/ 364467 h 607462"/>
              <a:gd name="connsiteX402" fmla="*/ 16206 w 532372"/>
              <a:gd name="connsiteY402" fmla="*/ 347780 h 607462"/>
              <a:gd name="connsiteX403" fmla="*/ 17227 w 532372"/>
              <a:gd name="connsiteY403" fmla="*/ 347409 h 607462"/>
              <a:gd name="connsiteX404" fmla="*/ 258626 w 532372"/>
              <a:gd name="connsiteY404" fmla="*/ 179706 h 607462"/>
              <a:gd name="connsiteX405" fmla="*/ 267052 w 532372"/>
              <a:gd name="connsiteY405" fmla="*/ 174469 h 607462"/>
              <a:gd name="connsiteX406" fmla="*/ 266929 w 532372"/>
              <a:gd name="connsiteY406" fmla="*/ 112462 h 607462"/>
              <a:gd name="connsiteX407" fmla="*/ 291286 w 532372"/>
              <a:gd name="connsiteY407" fmla="*/ 114631 h 607462"/>
              <a:gd name="connsiteX408" fmla="*/ 336410 w 532372"/>
              <a:gd name="connsiteY408" fmla="*/ 151237 h 607462"/>
              <a:gd name="connsiteX409" fmla="*/ 335760 w 532372"/>
              <a:gd name="connsiteY409" fmla="*/ 220372 h 607462"/>
              <a:gd name="connsiteX410" fmla="*/ 309113 w 532372"/>
              <a:gd name="connsiteY410" fmla="*/ 216572 h 607462"/>
              <a:gd name="connsiteX411" fmla="*/ 311713 w 532372"/>
              <a:gd name="connsiteY411" fmla="*/ 210827 h 607462"/>
              <a:gd name="connsiteX412" fmla="*/ 313012 w 532372"/>
              <a:gd name="connsiteY412" fmla="*/ 162451 h 607462"/>
              <a:gd name="connsiteX413" fmla="*/ 283672 w 532372"/>
              <a:gd name="connsiteY413" fmla="*/ 139467 h 607462"/>
              <a:gd name="connsiteX414" fmla="*/ 207630 w 532372"/>
              <a:gd name="connsiteY414" fmla="*/ 178947 h 607462"/>
              <a:gd name="connsiteX415" fmla="*/ 100576 w 532372"/>
              <a:gd name="connsiteY415" fmla="*/ 267451 h 607462"/>
              <a:gd name="connsiteX416" fmla="*/ 16363 w 532372"/>
              <a:gd name="connsiteY416" fmla="*/ 303872 h 607462"/>
              <a:gd name="connsiteX417" fmla="*/ 486 w 532372"/>
              <a:gd name="connsiteY417" fmla="*/ 294697 h 607462"/>
              <a:gd name="connsiteX418" fmla="*/ 9585 w 532372"/>
              <a:gd name="connsiteY418" fmla="*/ 278849 h 607462"/>
              <a:gd name="connsiteX419" fmla="*/ 87113 w 532372"/>
              <a:gd name="connsiteY419" fmla="*/ 245301 h 607462"/>
              <a:gd name="connsiteX420" fmla="*/ 188132 w 532372"/>
              <a:gd name="connsiteY420" fmla="*/ 161802 h 607462"/>
              <a:gd name="connsiteX421" fmla="*/ 266929 w 532372"/>
              <a:gd name="connsiteY421" fmla="*/ 112462 h 607462"/>
              <a:gd name="connsiteX422" fmla="*/ 244723 w 532372"/>
              <a:gd name="connsiteY422" fmla="*/ 55536 h 607462"/>
              <a:gd name="connsiteX423" fmla="*/ 257723 w 532372"/>
              <a:gd name="connsiteY423" fmla="*/ 68516 h 607462"/>
              <a:gd name="connsiteX424" fmla="*/ 244723 w 532372"/>
              <a:gd name="connsiteY424" fmla="*/ 81403 h 607462"/>
              <a:gd name="connsiteX425" fmla="*/ 237108 w 532372"/>
              <a:gd name="connsiteY425" fmla="*/ 82608 h 607462"/>
              <a:gd name="connsiteX426" fmla="*/ 206279 w 532372"/>
              <a:gd name="connsiteY426" fmla="*/ 93363 h 607462"/>
              <a:gd name="connsiteX427" fmla="*/ 177493 w 532372"/>
              <a:gd name="connsiteY427" fmla="*/ 111627 h 607462"/>
              <a:gd name="connsiteX428" fmla="*/ 174707 w 532372"/>
              <a:gd name="connsiteY428" fmla="*/ 113853 h 607462"/>
              <a:gd name="connsiteX429" fmla="*/ 171643 w 532372"/>
              <a:gd name="connsiteY429" fmla="*/ 116356 h 607462"/>
              <a:gd name="connsiteX430" fmla="*/ 165700 w 532372"/>
              <a:gd name="connsiteY430" fmla="*/ 121548 h 607462"/>
              <a:gd name="connsiteX431" fmla="*/ 154743 w 532372"/>
              <a:gd name="connsiteY431" fmla="*/ 131839 h 607462"/>
              <a:gd name="connsiteX432" fmla="*/ 136171 w 532372"/>
              <a:gd name="connsiteY432" fmla="*/ 152329 h 607462"/>
              <a:gd name="connsiteX433" fmla="*/ 88163 w 532372"/>
              <a:gd name="connsiteY433" fmla="*/ 199705 h 607462"/>
              <a:gd name="connsiteX434" fmla="*/ 58634 w 532372"/>
              <a:gd name="connsiteY434" fmla="*/ 217692 h 607462"/>
              <a:gd name="connsiteX435" fmla="*/ 21305 w 532372"/>
              <a:gd name="connsiteY435" fmla="*/ 235307 h 607462"/>
              <a:gd name="connsiteX436" fmla="*/ 5333 w 532372"/>
              <a:gd name="connsiteY436" fmla="*/ 226314 h 607462"/>
              <a:gd name="connsiteX437" fmla="*/ 14433 w 532372"/>
              <a:gd name="connsiteY437" fmla="*/ 210367 h 607462"/>
              <a:gd name="connsiteX438" fmla="*/ 26133 w 532372"/>
              <a:gd name="connsiteY438" fmla="*/ 205917 h 607462"/>
              <a:gd name="connsiteX439" fmla="*/ 59562 w 532372"/>
              <a:gd name="connsiteY439" fmla="*/ 187745 h 607462"/>
              <a:gd name="connsiteX440" fmla="*/ 85749 w 532372"/>
              <a:gd name="connsiteY440" fmla="*/ 168275 h 607462"/>
              <a:gd name="connsiteX441" fmla="*/ 109799 w 532372"/>
              <a:gd name="connsiteY441" fmla="*/ 143799 h 607462"/>
              <a:gd name="connsiteX442" fmla="*/ 126699 w 532372"/>
              <a:gd name="connsiteY442" fmla="*/ 123680 h 607462"/>
              <a:gd name="connsiteX443" fmla="*/ 244723 w 532372"/>
              <a:gd name="connsiteY443" fmla="*/ 55536 h 607462"/>
              <a:gd name="connsiteX444" fmla="*/ 231681 w 532372"/>
              <a:gd name="connsiteY444" fmla="*/ 216 h 607462"/>
              <a:gd name="connsiteX445" fmla="*/ 231959 w 532372"/>
              <a:gd name="connsiteY445" fmla="*/ 309 h 607462"/>
              <a:gd name="connsiteX446" fmla="*/ 366026 w 532372"/>
              <a:gd name="connsiteY446" fmla="*/ 82992 h 607462"/>
              <a:gd name="connsiteX447" fmla="*/ 406134 w 532372"/>
              <a:gd name="connsiteY447" fmla="*/ 180135 h 607462"/>
              <a:gd name="connsiteX448" fmla="*/ 407248 w 532372"/>
              <a:gd name="connsiteY448" fmla="*/ 184492 h 607462"/>
              <a:gd name="connsiteX449" fmla="*/ 407991 w 532372"/>
              <a:gd name="connsiteY449" fmla="*/ 186624 h 607462"/>
              <a:gd name="connsiteX450" fmla="*/ 418204 w 532372"/>
              <a:gd name="connsiteY450" fmla="*/ 216193 h 607462"/>
              <a:gd name="connsiteX451" fmla="*/ 420525 w 532372"/>
              <a:gd name="connsiteY451" fmla="*/ 233805 h 607462"/>
              <a:gd name="connsiteX452" fmla="*/ 410034 w 532372"/>
              <a:gd name="connsiteY452" fmla="*/ 239181 h 607462"/>
              <a:gd name="connsiteX453" fmla="*/ 402421 w 532372"/>
              <a:gd name="connsiteY453" fmla="*/ 236771 h 607462"/>
              <a:gd name="connsiteX454" fmla="*/ 382923 w 532372"/>
              <a:gd name="connsiteY454" fmla="*/ 193483 h 607462"/>
              <a:gd name="connsiteX455" fmla="*/ 380974 w 532372"/>
              <a:gd name="connsiteY455" fmla="*/ 186438 h 607462"/>
              <a:gd name="connsiteX456" fmla="*/ 230288 w 532372"/>
              <a:gd name="connsiteY456" fmla="*/ 26170 h 607462"/>
              <a:gd name="connsiteX457" fmla="*/ 52957 w 532372"/>
              <a:gd name="connsiteY457" fmla="*/ 138701 h 607462"/>
              <a:gd name="connsiteX458" fmla="*/ 49893 w 532372"/>
              <a:gd name="connsiteY458" fmla="*/ 142779 h 607462"/>
              <a:gd name="connsiteX459" fmla="*/ 30117 w 532372"/>
              <a:gd name="connsiteY459" fmla="*/ 162708 h 607462"/>
              <a:gd name="connsiteX460" fmla="*/ 10620 w 532372"/>
              <a:gd name="connsiteY460" fmla="*/ 170773 h 607462"/>
              <a:gd name="connsiteX461" fmla="*/ 686 w 532372"/>
              <a:gd name="connsiteY461" fmla="*/ 160855 h 607462"/>
              <a:gd name="connsiteX462" fmla="*/ 5607 w 532372"/>
              <a:gd name="connsiteY462" fmla="*/ 147692 h 607462"/>
              <a:gd name="connsiteX463" fmla="*/ 8763 w 532372"/>
              <a:gd name="connsiteY463" fmla="*/ 145931 h 607462"/>
              <a:gd name="connsiteX464" fmla="*/ 29189 w 532372"/>
              <a:gd name="connsiteY464" fmla="*/ 127114 h 607462"/>
              <a:gd name="connsiteX465" fmla="*/ 32253 w 532372"/>
              <a:gd name="connsiteY465" fmla="*/ 123128 h 607462"/>
              <a:gd name="connsiteX466" fmla="*/ 231681 w 532372"/>
              <a:gd name="connsiteY466" fmla="*/ 216 h 607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</a:cxnLst>
            <a:rect l="l" t="t" r="r" b="b"/>
            <a:pathLst>
              <a:path w="532372" h="607462">
                <a:moveTo>
                  <a:pt x="222227" y="538088"/>
                </a:moveTo>
                <a:cubicBezTo>
                  <a:pt x="242369" y="534568"/>
                  <a:pt x="260841" y="547720"/>
                  <a:pt x="282097" y="562911"/>
                </a:cubicBezTo>
                <a:cubicBezTo>
                  <a:pt x="288595" y="567449"/>
                  <a:pt x="295278" y="572265"/>
                  <a:pt x="302611" y="576989"/>
                </a:cubicBezTo>
                <a:cubicBezTo>
                  <a:pt x="308552" y="580879"/>
                  <a:pt x="310223" y="588937"/>
                  <a:pt x="306324" y="594958"/>
                </a:cubicBezTo>
                <a:cubicBezTo>
                  <a:pt x="302426" y="600886"/>
                  <a:pt x="294350" y="602646"/>
                  <a:pt x="288409" y="598663"/>
                </a:cubicBezTo>
                <a:cubicBezTo>
                  <a:pt x="280612" y="593661"/>
                  <a:pt x="273372" y="588474"/>
                  <a:pt x="266967" y="583936"/>
                </a:cubicBezTo>
                <a:cubicBezTo>
                  <a:pt x="250445" y="572173"/>
                  <a:pt x="236150" y="561984"/>
                  <a:pt x="226682" y="563652"/>
                </a:cubicBezTo>
                <a:cubicBezTo>
                  <a:pt x="217028" y="565226"/>
                  <a:pt x="192338" y="585603"/>
                  <a:pt x="174980" y="603572"/>
                </a:cubicBezTo>
                <a:cubicBezTo>
                  <a:pt x="172473" y="606165"/>
                  <a:pt x="169039" y="607462"/>
                  <a:pt x="165697" y="607462"/>
                </a:cubicBezTo>
                <a:cubicBezTo>
                  <a:pt x="162449" y="607462"/>
                  <a:pt x="159200" y="606258"/>
                  <a:pt x="156601" y="603850"/>
                </a:cubicBezTo>
                <a:cubicBezTo>
                  <a:pt x="151495" y="598848"/>
                  <a:pt x="151310" y="590697"/>
                  <a:pt x="156322" y="585510"/>
                </a:cubicBezTo>
                <a:cubicBezTo>
                  <a:pt x="163377" y="578286"/>
                  <a:pt x="199485" y="541978"/>
                  <a:pt x="222227" y="538088"/>
                </a:cubicBezTo>
                <a:close/>
                <a:moveTo>
                  <a:pt x="337451" y="508600"/>
                </a:moveTo>
                <a:cubicBezTo>
                  <a:pt x="340791" y="510268"/>
                  <a:pt x="343853" y="511658"/>
                  <a:pt x="346451" y="512585"/>
                </a:cubicBezTo>
                <a:cubicBezTo>
                  <a:pt x="353223" y="514994"/>
                  <a:pt x="356656" y="522408"/>
                  <a:pt x="354244" y="529173"/>
                </a:cubicBezTo>
                <a:cubicBezTo>
                  <a:pt x="351832" y="535938"/>
                  <a:pt x="344317" y="539367"/>
                  <a:pt x="337636" y="536958"/>
                </a:cubicBezTo>
                <a:cubicBezTo>
                  <a:pt x="325668" y="532695"/>
                  <a:pt x="309988" y="523242"/>
                  <a:pt x="293288" y="512956"/>
                </a:cubicBezTo>
                <a:cubicBezTo>
                  <a:pt x="295886" y="513048"/>
                  <a:pt x="298483" y="513141"/>
                  <a:pt x="301174" y="513141"/>
                </a:cubicBezTo>
                <a:cubicBezTo>
                  <a:pt x="313421" y="513141"/>
                  <a:pt x="325668" y="511565"/>
                  <a:pt x="337451" y="508600"/>
                </a:cubicBezTo>
                <a:close/>
                <a:moveTo>
                  <a:pt x="198075" y="471482"/>
                </a:moveTo>
                <a:cubicBezTo>
                  <a:pt x="204668" y="477880"/>
                  <a:pt x="211911" y="483721"/>
                  <a:pt x="219618" y="488728"/>
                </a:cubicBezTo>
                <a:cubicBezTo>
                  <a:pt x="196590" y="502080"/>
                  <a:pt x="156291" y="531472"/>
                  <a:pt x="138741" y="544267"/>
                </a:cubicBezTo>
                <a:cubicBezTo>
                  <a:pt x="131684" y="549367"/>
                  <a:pt x="125648" y="553817"/>
                  <a:pt x="121377" y="556877"/>
                </a:cubicBezTo>
                <a:cubicBezTo>
                  <a:pt x="119056" y="558453"/>
                  <a:pt x="116456" y="559195"/>
                  <a:pt x="113856" y="559195"/>
                </a:cubicBezTo>
                <a:cubicBezTo>
                  <a:pt x="109770" y="559195"/>
                  <a:pt x="105777" y="557341"/>
                  <a:pt x="103270" y="553725"/>
                </a:cubicBezTo>
                <a:cubicBezTo>
                  <a:pt x="99092" y="547883"/>
                  <a:pt x="100485" y="539817"/>
                  <a:pt x="106334" y="535644"/>
                </a:cubicBezTo>
                <a:cubicBezTo>
                  <a:pt x="110513" y="532770"/>
                  <a:pt x="116549" y="528412"/>
                  <a:pt x="123420" y="523312"/>
                </a:cubicBezTo>
                <a:cubicBezTo>
                  <a:pt x="155176" y="500132"/>
                  <a:pt x="179783" y="482794"/>
                  <a:pt x="198075" y="471482"/>
                </a:cubicBezTo>
                <a:close/>
                <a:moveTo>
                  <a:pt x="161975" y="417006"/>
                </a:moveTo>
                <a:cubicBezTo>
                  <a:pt x="165132" y="425255"/>
                  <a:pt x="168940" y="433133"/>
                  <a:pt x="173397" y="440548"/>
                </a:cubicBezTo>
                <a:cubicBezTo>
                  <a:pt x="169868" y="442865"/>
                  <a:pt x="166432" y="445182"/>
                  <a:pt x="162997" y="447407"/>
                </a:cubicBezTo>
                <a:cubicBezTo>
                  <a:pt x="125668" y="471968"/>
                  <a:pt x="90382" y="495140"/>
                  <a:pt x="70325" y="500516"/>
                </a:cubicBezTo>
                <a:cubicBezTo>
                  <a:pt x="69210" y="500886"/>
                  <a:pt x="68096" y="500979"/>
                  <a:pt x="66982" y="500979"/>
                </a:cubicBezTo>
                <a:cubicBezTo>
                  <a:pt x="61225" y="500979"/>
                  <a:pt x="56024" y="497179"/>
                  <a:pt x="54446" y="491432"/>
                </a:cubicBezTo>
                <a:cubicBezTo>
                  <a:pt x="52589" y="484481"/>
                  <a:pt x="56674" y="477344"/>
                  <a:pt x="63546" y="475491"/>
                </a:cubicBezTo>
                <a:cubicBezTo>
                  <a:pt x="79610" y="471227"/>
                  <a:pt x="116289" y="447036"/>
                  <a:pt x="148697" y="425718"/>
                </a:cubicBezTo>
                <a:cubicBezTo>
                  <a:pt x="153339" y="422660"/>
                  <a:pt x="157704" y="419787"/>
                  <a:pt x="161975" y="417006"/>
                </a:cubicBezTo>
                <a:close/>
                <a:moveTo>
                  <a:pt x="241234" y="415059"/>
                </a:moveTo>
                <a:cubicBezTo>
                  <a:pt x="240306" y="415059"/>
                  <a:pt x="239749" y="415616"/>
                  <a:pt x="239377" y="416728"/>
                </a:cubicBezTo>
                <a:cubicBezTo>
                  <a:pt x="239006" y="417840"/>
                  <a:pt x="238820" y="419879"/>
                  <a:pt x="238820" y="422846"/>
                </a:cubicBezTo>
                <a:cubicBezTo>
                  <a:pt x="238820" y="425812"/>
                  <a:pt x="239006" y="427758"/>
                  <a:pt x="239377" y="428871"/>
                </a:cubicBezTo>
                <a:cubicBezTo>
                  <a:pt x="239470" y="429056"/>
                  <a:pt x="239470" y="429241"/>
                  <a:pt x="239563" y="429427"/>
                </a:cubicBezTo>
                <a:cubicBezTo>
                  <a:pt x="239935" y="429798"/>
                  <a:pt x="240306" y="430076"/>
                  <a:pt x="240677" y="430446"/>
                </a:cubicBezTo>
                <a:cubicBezTo>
                  <a:pt x="240863" y="430539"/>
                  <a:pt x="241049" y="430539"/>
                  <a:pt x="241234" y="430539"/>
                </a:cubicBezTo>
                <a:cubicBezTo>
                  <a:pt x="242070" y="430539"/>
                  <a:pt x="242720" y="429983"/>
                  <a:pt x="243091" y="428871"/>
                </a:cubicBezTo>
                <a:cubicBezTo>
                  <a:pt x="243463" y="427666"/>
                  <a:pt x="243649" y="425719"/>
                  <a:pt x="243556" y="422846"/>
                </a:cubicBezTo>
                <a:cubicBezTo>
                  <a:pt x="243556" y="419972"/>
                  <a:pt x="243463" y="417933"/>
                  <a:pt x="243091" y="416821"/>
                </a:cubicBezTo>
                <a:cubicBezTo>
                  <a:pt x="242720" y="415616"/>
                  <a:pt x="242070" y="415059"/>
                  <a:pt x="241234" y="415059"/>
                </a:cubicBezTo>
                <a:close/>
                <a:moveTo>
                  <a:pt x="347835" y="415018"/>
                </a:moveTo>
                <a:cubicBezTo>
                  <a:pt x="346999" y="415018"/>
                  <a:pt x="346349" y="415574"/>
                  <a:pt x="345977" y="416686"/>
                </a:cubicBezTo>
                <a:cubicBezTo>
                  <a:pt x="345605" y="417798"/>
                  <a:pt x="345419" y="419838"/>
                  <a:pt x="345419" y="422804"/>
                </a:cubicBezTo>
                <a:cubicBezTo>
                  <a:pt x="345419" y="425770"/>
                  <a:pt x="345605" y="427717"/>
                  <a:pt x="345977" y="428829"/>
                </a:cubicBezTo>
                <a:cubicBezTo>
                  <a:pt x="346349" y="429941"/>
                  <a:pt x="346999" y="430497"/>
                  <a:pt x="347835" y="430497"/>
                </a:cubicBezTo>
                <a:cubicBezTo>
                  <a:pt x="348672" y="430497"/>
                  <a:pt x="349322" y="429941"/>
                  <a:pt x="349694" y="428829"/>
                </a:cubicBezTo>
                <a:cubicBezTo>
                  <a:pt x="350065" y="427624"/>
                  <a:pt x="350251" y="425677"/>
                  <a:pt x="350251" y="422804"/>
                </a:cubicBezTo>
                <a:cubicBezTo>
                  <a:pt x="350251" y="419930"/>
                  <a:pt x="350065" y="417891"/>
                  <a:pt x="349694" y="416779"/>
                </a:cubicBezTo>
                <a:cubicBezTo>
                  <a:pt x="349322" y="415574"/>
                  <a:pt x="348672" y="415018"/>
                  <a:pt x="347835" y="415018"/>
                </a:cubicBezTo>
                <a:close/>
                <a:moveTo>
                  <a:pt x="262521" y="415018"/>
                </a:moveTo>
                <a:cubicBezTo>
                  <a:pt x="261684" y="415018"/>
                  <a:pt x="261034" y="415574"/>
                  <a:pt x="260662" y="416686"/>
                </a:cubicBezTo>
                <a:cubicBezTo>
                  <a:pt x="260291" y="417798"/>
                  <a:pt x="260198" y="419838"/>
                  <a:pt x="260198" y="422804"/>
                </a:cubicBezTo>
                <a:cubicBezTo>
                  <a:pt x="260198" y="425770"/>
                  <a:pt x="260291" y="427717"/>
                  <a:pt x="260662" y="428829"/>
                </a:cubicBezTo>
                <a:cubicBezTo>
                  <a:pt x="261034" y="429941"/>
                  <a:pt x="261684" y="430497"/>
                  <a:pt x="262521" y="430497"/>
                </a:cubicBezTo>
                <a:cubicBezTo>
                  <a:pt x="263450" y="430497"/>
                  <a:pt x="264007" y="429941"/>
                  <a:pt x="264379" y="428829"/>
                </a:cubicBezTo>
                <a:cubicBezTo>
                  <a:pt x="264751" y="427624"/>
                  <a:pt x="264937" y="425677"/>
                  <a:pt x="264937" y="422804"/>
                </a:cubicBezTo>
                <a:cubicBezTo>
                  <a:pt x="264937" y="419930"/>
                  <a:pt x="264751" y="417891"/>
                  <a:pt x="264379" y="416779"/>
                </a:cubicBezTo>
                <a:cubicBezTo>
                  <a:pt x="264007" y="415574"/>
                  <a:pt x="263450" y="415018"/>
                  <a:pt x="262521" y="415018"/>
                </a:cubicBezTo>
                <a:close/>
                <a:moveTo>
                  <a:pt x="326302" y="409879"/>
                </a:moveTo>
                <a:lnTo>
                  <a:pt x="332593" y="409879"/>
                </a:lnTo>
                <a:lnTo>
                  <a:pt x="332593" y="435706"/>
                </a:lnTo>
                <a:lnTo>
                  <a:pt x="325469" y="435706"/>
                </a:lnTo>
                <a:lnTo>
                  <a:pt x="325469" y="422006"/>
                </a:lnTo>
                <a:cubicBezTo>
                  <a:pt x="325469" y="420339"/>
                  <a:pt x="325469" y="418858"/>
                  <a:pt x="325562" y="417470"/>
                </a:cubicBezTo>
                <a:cubicBezTo>
                  <a:pt x="325099" y="418025"/>
                  <a:pt x="324637" y="418581"/>
                  <a:pt x="323989" y="419136"/>
                </a:cubicBezTo>
                <a:lnTo>
                  <a:pt x="321029" y="421543"/>
                </a:lnTo>
                <a:lnTo>
                  <a:pt x="317421" y="417099"/>
                </a:lnTo>
                <a:close/>
                <a:moveTo>
                  <a:pt x="304962" y="409879"/>
                </a:moveTo>
                <a:lnTo>
                  <a:pt x="311282" y="409879"/>
                </a:lnTo>
                <a:lnTo>
                  <a:pt x="311282" y="435706"/>
                </a:lnTo>
                <a:lnTo>
                  <a:pt x="304125" y="435706"/>
                </a:lnTo>
                <a:lnTo>
                  <a:pt x="304125" y="422006"/>
                </a:lnTo>
                <a:cubicBezTo>
                  <a:pt x="304125" y="420339"/>
                  <a:pt x="304218" y="418858"/>
                  <a:pt x="304311" y="417470"/>
                </a:cubicBezTo>
                <a:cubicBezTo>
                  <a:pt x="303847" y="418025"/>
                  <a:pt x="303289" y="418581"/>
                  <a:pt x="302638" y="419136"/>
                </a:cubicBezTo>
                <a:lnTo>
                  <a:pt x="299664" y="421543"/>
                </a:lnTo>
                <a:lnTo>
                  <a:pt x="296040" y="417099"/>
                </a:lnTo>
                <a:close/>
                <a:moveTo>
                  <a:pt x="283580" y="409879"/>
                </a:moveTo>
                <a:lnTo>
                  <a:pt x="289900" y="409879"/>
                </a:lnTo>
                <a:lnTo>
                  <a:pt x="289900" y="435706"/>
                </a:lnTo>
                <a:lnTo>
                  <a:pt x="282836" y="435706"/>
                </a:lnTo>
                <a:lnTo>
                  <a:pt x="282836" y="422006"/>
                </a:lnTo>
                <a:cubicBezTo>
                  <a:pt x="282836" y="420339"/>
                  <a:pt x="282836" y="418858"/>
                  <a:pt x="282929" y="417470"/>
                </a:cubicBezTo>
                <a:cubicBezTo>
                  <a:pt x="282465" y="418025"/>
                  <a:pt x="281907" y="418581"/>
                  <a:pt x="281256" y="419136"/>
                </a:cubicBezTo>
                <a:lnTo>
                  <a:pt x="278282" y="421543"/>
                </a:lnTo>
                <a:lnTo>
                  <a:pt x="274658" y="417099"/>
                </a:lnTo>
                <a:close/>
                <a:moveTo>
                  <a:pt x="347835" y="409456"/>
                </a:moveTo>
                <a:cubicBezTo>
                  <a:pt x="350902" y="409456"/>
                  <a:pt x="353225" y="410568"/>
                  <a:pt x="354897" y="412793"/>
                </a:cubicBezTo>
                <a:cubicBezTo>
                  <a:pt x="356477" y="415018"/>
                  <a:pt x="357220" y="418355"/>
                  <a:pt x="357220" y="422804"/>
                </a:cubicBezTo>
                <a:cubicBezTo>
                  <a:pt x="357220" y="427346"/>
                  <a:pt x="356477" y="430775"/>
                  <a:pt x="354897" y="432907"/>
                </a:cubicBezTo>
                <a:cubicBezTo>
                  <a:pt x="353410" y="435039"/>
                  <a:pt x="350995" y="436059"/>
                  <a:pt x="347835" y="436059"/>
                </a:cubicBezTo>
                <a:cubicBezTo>
                  <a:pt x="344769" y="436059"/>
                  <a:pt x="342353" y="434947"/>
                  <a:pt x="340773" y="432722"/>
                </a:cubicBezTo>
                <a:cubicBezTo>
                  <a:pt x="339194" y="430497"/>
                  <a:pt x="338450" y="427160"/>
                  <a:pt x="338450" y="422804"/>
                </a:cubicBezTo>
                <a:cubicBezTo>
                  <a:pt x="338450" y="418169"/>
                  <a:pt x="339194" y="414832"/>
                  <a:pt x="340773" y="412608"/>
                </a:cubicBezTo>
                <a:cubicBezTo>
                  <a:pt x="342260" y="410476"/>
                  <a:pt x="344676" y="409456"/>
                  <a:pt x="347835" y="409456"/>
                </a:cubicBezTo>
                <a:close/>
                <a:moveTo>
                  <a:pt x="262521" y="409456"/>
                </a:moveTo>
                <a:cubicBezTo>
                  <a:pt x="265680" y="409456"/>
                  <a:pt x="268003" y="410568"/>
                  <a:pt x="269583" y="412793"/>
                </a:cubicBezTo>
                <a:cubicBezTo>
                  <a:pt x="271162" y="415018"/>
                  <a:pt x="271906" y="418355"/>
                  <a:pt x="271906" y="422804"/>
                </a:cubicBezTo>
                <a:cubicBezTo>
                  <a:pt x="271906" y="427346"/>
                  <a:pt x="271162" y="430775"/>
                  <a:pt x="269676" y="432907"/>
                </a:cubicBezTo>
                <a:cubicBezTo>
                  <a:pt x="268096" y="435039"/>
                  <a:pt x="265773" y="436059"/>
                  <a:pt x="262521" y="436059"/>
                </a:cubicBezTo>
                <a:cubicBezTo>
                  <a:pt x="259454" y="436059"/>
                  <a:pt x="257131" y="434947"/>
                  <a:pt x="255552" y="432722"/>
                </a:cubicBezTo>
                <a:cubicBezTo>
                  <a:pt x="253972" y="430497"/>
                  <a:pt x="253136" y="427160"/>
                  <a:pt x="253136" y="422804"/>
                </a:cubicBezTo>
                <a:cubicBezTo>
                  <a:pt x="253136" y="418169"/>
                  <a:pt x="253972" y="414832"/>
                  <a:pt x="255459" y="412608"/>
                </a:cubicBezTo>
                <a:cubicBezTo>
                  <a:pt x="257038" y="410476"/>
                  <a:pt x="259361" y="409456"/>
                  <a:pt x="262521" y="409456"/>
                </a:cubicBezTo>
                <a:close/>
                <a:moveTo>
                  <a:pt x="390456" y="359359"/>
                </a:moveTo>
                <a:cubicBezTo>
                  <a:pt x="389620" y="359359"/>
                  <a:pt x="388970" y="359914"/>
                  <a:pt x="388598" y="361026"/>
                </a:cubicBezTo>
                <a:cubicBezTo>
                  <a:pt x="388226" y="362137"/>
                  <a:pt x="388133" y="364175"/>
                  <a:pt x="388133" y="367046"/>
                </a:cubicBezTo>
                <a:cubicBezTo>
                  <a:pt x="388133" y="370010"/>
                  <a:pt x="388226" y="372047"/>
                  <a:pt x="388598" y="373159"/>
                </a:cubicBezTo>
                <a:cubicBezTo>
                  <a:pt x="388970" y="374270"/>
                  <a:pt x="389620" y="374826"/>
                  <a:pt x="390456" y="374826"/>
                </a:cubicBezTo>
                <a:cubicBezTo>
                  <a:pt x="391385" y="374826"/>
                  <a:pt x="391943" y="374178"/>
                  <a:pt x="392315" y="373066"/>
                </a:cubicBezTo>
                <a:cubicBezTo>
                  <a:pt x="392686" y="371955"/>
                  <a:pt x="392872" y="369917"/>
                  <a:pt x="392872" y="367046"/>
                </a:cubicBezTo>
                <a:cubicBezTo>
                  <a:pt x="392872" y="364175"/>
                  <a:pt x="392686" y="362230"/>
                  <a:pt x="392315" y="361026"/>
                </a:cubicBezTo>
                <a:cubicBezTo>
                  <a:pt x="391943" y="359914"/>
                  <a:pt x="391385" y="359359"/>
                  <a:pt x="390456" y="359359"/>
                </a:cubicBezTo>
                <a:close/>
                <a:moveTo>
                  <a:pt x="347835" y="359359"/>
                </a:moveTo>
                <a:cubicBezTo>
                  <a:pt x="346999" y="359359"/>
                  <a:pt x="346349" y="359914"/>
                  <a:pt x="345977" y="361026"/>
                </a:cubicBezTo>
                <a:cubicBezTo>
                  <a:pt x="345605" y="362137"/>
                  <a:pt x="345419" y="364175"/>
                  <a:pt x="345419" y="367046"/>
                </a:cubicBezTo>
                <a:cubicBezTo>
                  <a:pt x="345419" y="370010"/>
                  <a:pt x="345605" y="372047"/>
                  <a:pt x="345977" y="373159"/>
                </a:cubicBezTo>
                <a:cubicBezTo>
                  <a:pt x="346349" y="374270"/>
                  <a:pt x="346999" y="374826"/>
                  <a:pt x="347835" y="374826"/>
                </a:cubicBezTo>
                <a:cubicBezTo>
                  <a:pt x="348672" y="374826"/>
                  <a:pt x="349322" y="374178"/>
                  <a:pt x="349694" y="373066"/>
                </a:cubicBezTo>
                <a:cubicBezTo>
                  <a:pt x="350065" y="371955"/>
                  <a:pt x="350251" y="369917"/>
                  <a:pt x="350251" y="367046"/>
                </a:cubicBezTo>
                <a:cubicBezTo>
                  <a:pt x="350251" y="364175"/>
                  <a:pt x="350065" y="362230"/>
                  <a:pt x="349694" y="361026"/>
                </a:cubicBezTo>
                <a:cubicBezTo>
                  <a:pt x="349322" y="359914"/>
                  <a:pt x="348672" y="359359"/>
                  <a:pt x="347835" y="359359"/>
                </a:cubicBezTo>
                <a:close/>
                <a:moveTo>
                  <a:pt x="326489" y="359359"/>
                </a:moveTo>
                <a:cubicBezTo>
                  <a:pt x="325656" y="359359"/>
                  <a:pt x="325008" y="359914"/>
                  <a:pt x="324637" y="361026"/>
                </a:cubicBezTo>
                <a:cubicBezTo>
                  <a:pt x="324267" y="362137"/>
                  <a:pt x="324174" y="364175"/>
                  <a:pt x="324174" y="367046"/>
                </a:cubicBezTo>
                <a:cubicBezTo>
                  <a:pt x="324174" y="370010"/>
                  <a:pt x="324267" y="372047"/>
                  <a:pt x="324637" y="373159"/>
                </a:cubicBezTo>
                <a:cubicBezTo>
                  <a:pt x="325008" y="374270"/>
                  <a:pt x="325656" y="374826"/>
                  <a:pt x="326489" y="374826"/>
                </a:cubicBezTo>
                <a:cubicBezTo>
                  <a:pt x="327414" y="374826"/>
                  <a:pt x="327970" y="374178"/>
                  <a:pt x="328340" y="373066"/>
                </a:cubicBezTo>
                <a:cubicBezTo>
                  <a:pt x="328711" y="371955"/>
                  <a:pt x="328896" y="369917"/>
                  <a:pt x="328896" y="367046"/>
                </a:cubicBezTo>
                <a:cubicBezTo>
                  <a:pt x="328896" y="364175"/>
                  <a:pt x="328711" y="362230"/>
                  <a:pt x="328340" y="361026"/>
                </a:cubicBezTo>
                <a:cubicBezTo>
                  <a:pt x="327970" y="359914"/>
                  <a:pt x="327414" y="359359"/>
                  <a:pt x="326489" y="359359"/>
                </a:cubicBezTo>
                <a:close/>
                <a:moveTo>
                  <a:pt x="283902" y="359359"/>
                </a:moveTo>
                <a:cubicBezTo>
                  <a:pt x="283065" y="359359"/>
                  <a:pt x="282415" y="359914"/>
                  <a:pt x="282043" y="361026"/>
                </a:cubicBezTo>
                <a:cubicBezTo>
                  <a:pt x="281672" y="362137"/>
                  <a:pt x="281486" y="364175"/>
                  <a:pt x="281486" y="367046"/>
                </a:cubicBezTo>
                <a:cubicBezTo>
                  <a:pt x="281486" y="370010"/>
                  <a:pt x="281672" y="372047"/>
                  <a:pt x="282043" y="373159"/>
                </a:cubicBezTo>
                <a:cubicBezTo>
                  <a:pt x="282415" y="374270"/>
                  <a:pt x="283065" y="374826"/>
                  <a:pt x="283902" y="374826"/>
                </a:cubicBezTo>
                <a:cubicBezTo>
                  <a:pt x="284738" y="374826"/>
                  <a:pt x="285388" y="374178"/>
                  <a:pt x="285760" y="373066"/>
                </a:cubicBezTo>
                <a:cubicBezTo>
                  <a:pt x="286132" y="371955"/>
                  <a:pt x="286318" y="369917"/>
                  <a:pt x="286318" y="367046"/>
                </a:cubicBezTo>
                <a:cubicBezTo>
                  <a:pt x="286318" y="364175"/>
                  <a:pt x="286132" y="362230"/>
                  <a:pt x="285760" y="361026"/>
                </a:cubicBezTo>
                <a:cubicBezTo>
                  <a:pt x="285388" y="359914"/>
                  <a:pt x="284738" y="359359"/>
                  <a:pt x="283902" y="359359"/>
                </a:cubicBezTo>
                <a:close/>
                <a:moveTo>
                  <a:pt x="241281" y="359359"/>
                </a:moveTo>
                <a:cubicBezTo>
                  <a:pt x="240352" y="359359"/>
                  <a:pt x="239794" y="359914"/>
                  <a:pt x="239422" y="361026"/>
                </a:cubicBezTo>
                <a:cubicBezTo>
                  <a:pt x="239051" y="362137"/>
                  <a:pt x="238865" y="364175"/>
                  <a:pt x="238865" y="367046"/>
                </a:cubicBezTo>
                <a:cubicBezTo>
                  <a:pt x="238865" y="370010"/>
                  <a:pt x="239051" y="372047"/>
                  <a:pt x="239422" y="373159"/>
                </a:cubicBezTo>
                <a:cubicBezTo>
                  <a:pt x="239794" y="374270"/>
                  <a:pt x="240352" y="374826"/>
                  <a:pt x="241281" y="374826"/>
                </a:cubicBezTo>
                <a:cubicBezTo>
                  <a:pt x="242117" y="374826"/>
                  <a:pt x="242767" y="374178"/>
                  <a:pt x="243139" y="373066"/>
                </a:cubicBezTo>
                <a:cubicBezTo>
                  <a:pt x="243511" y="371955"/>
                  <a:pt x="243697" y="369917"/>
                  <a:pt x="243604" y="367046"/>
                </a:cubicBezTo>
                <a:cubicBezTo>
                  <a:pt x="243604" y="364175"/>
                  <a:pt x="243511" y="362230"/>
                  <a:pt x="243139" y="361026"/>
                </a:cubicBezTo>
                <a:cubicBezTo>
                  <a:pt x="242767" y="359914"/>
                  <a:pt x="242117" y="359359"/>
                  <a:pt x="241281" y="359359"/>
                </a:cubicBezTo>
                <a:close/>
                <a:moveTo>
                  <a:pt x="219878" y="359351"/>
                </a:moveTo>
                <a:cubicBezTo>
                  <a:pt x="219043" y="359351"/>
                  <a:pt x="218393" y="359907"/>
                  <a:pt x="218021" y="361020"/>
                </a:cubicBezTo>
                <a:cubicBezTo>
                  <a:pt x="217650" y="362132"/>
                  <a:pt x="217464" y="364171"/>
                  <a:pt x="217464" y="367045"/>
                </a:cubicBezTo>
                <a:cubicBezTo>
                  <a:pt x="217464" y="370011"/>
                  <a:pt x="217650" y="372050"/>
                  <a:pt x="218021" y="373162"/>
                </a:cubicBezTo>
                <a:cubicBezTo>
                  <a:pt x="218393" y="374275"/>
                  <a:pt x="219043" y="374738"/>
                  <a:pt x="219878" y="374738"/>
                </a:cubicBezTo>
                <a:cubicBezTo>
                  <a:pt x="220714" y="374738"/>
                  <a:pt x="221364" y="374182"/>
                  <a:pt x="221735" y="373070"/>
                </a:cubicBezTo>
                <a:cubicBezTo>
                  <a:pt x="222107" y="371957"/>
                  <a:pt x="222293" y="369918"/>
                  <a:pt x="222293" y="367045"/>
                </a:cubicBezTo>
                <a:cubicBezTo>
                  <a:pt x="222293" y="364171"/>
                  <a:pt x="222107" y="362225"/>
                  <a:pt x="221735" y="361020"/>
                </a:cubicBezTo>
                <a:cubicBezTo>
                  <a:pt x="221364" y="359907"/>
                  <a:pt x="220714" y="359351"/>
                  <a:pt x="219878" y="359351"/>
                </a:cubicBezTo>
                <a:close/>
                <a:moveTo>
                  <a:pt x="368924" y="354062"/>
                </a:moveTo>
                <a:lnTo>
                  <a:pt x="375215" y="354062"/>
                </a:lnTo>
                <a:lnTo>
                  <a:pt x="375215" y="380030"/>
                </a:lnTo>
                <a:lnTo>
                  <a:pt x="368092" y="380030"/>
                </a:lnTo>
                <a:lnTo>
                  <a:pt x="368092" y="366304"/>
                </a:lnTo>
                <a:cubicBezTo>
                  <a:pt x="368092" y="364635"/>
                  <a:pt x="368184" y="363058"/>
                  <a:pt x="368277" y="361667"/>
                </a:cubicBezTo>
                <a:cubicBezTo>
                  <a:pt x="367814" y="362223"/>
                  <a:pt x="367259" y="362780"/>
                  <a:pt x="366612" y="363336"/>
                </a:cubicBezTo>
                <a:lnTo>
                  <a:pt x="363651" y="365840"/>
                </a:lnTo>
                <a:lnTo>
                  <a:pt x="360043" y="361296"/>
                </a:lnTo>
                <a:close/>
                <a:moveTo>
                  <a:pt x="304962" y="354062"/>
                </a:moveTo>
                <a:lnTo>
                  <a:pt x="311282" y="354062"/>
                </a:lnTo>
                <a:lnTo>
                  <a:pt x="311282" y="380030"/>
                </a:lnTo>
                <a:lnTo>
                  <a:pt x="304125" y="380030"/>
                </a:lnTo>
                <a:lnTo>
                  <a:pt x="304125" y="366304"/>
                </a:lnTo>
                <a:cubicBezTo>
                  <a:pt x="304125" y="364635"/>
                  <a:pt x="304218" y="363058"/>
                  <a:pt x="304311" y="361667"/>
                </a:cubicBezTo>
                <a:cubicBezTo>
                  <a:pt x="303847" y="362223"/>
                  <a:pt x="303289" y="362780"/>
                  <a:pt x="302638" y="363336"/>
                </a:cubicBezTo>
                <a:lnTo>
                  <a:pt x="299664" y="365840"/>
                </a:lnTo>
                <a:lnTo>
                  <a:pt x="296040" y="361296"/>
                </a:lnTo>
                <a:close/>
                <a:moveTo>
                  <a:pt x="262340" y="354062"/>
                </a:moveTo>
                <a:lnTo>
                  <a:pt x="268660" y="354062"/>
                </a:lnTo>
                <a:lnTo>
                  <a:pt x="268660" y="380030"/>
                </a:lnTo>
                <a:lnTo>
                  <a:pt x="261503" y="380030"/>
                </a:lnTo>
                <a:lnTo>
                  <a:pt x="261503" y="366304"/>
                </a:lnTo>
                <a:cubicBezTo>
                  <a:pt x="261503" y="364635"/>
                  <a:pt x="261503" y="363058"/>
                  <a:pt x="261596" y="361667"/>
                </a:cubicBezTo>
                <a:cubicBezTo>
                  <a:pt x="261132" y="362223"/>
                  <a:pt x="260667" y="362780"/>
                  <a:pt x="260016" y="363336"/>
                </a:cubicBezTo>
                <a:lnTo>
                  <a:pt x="257042" y="365840"/>
                </a:lnTo>
                <a:lnTo>
                  <a:pt x="253418" y="361296"/>
                </a:lnTo>
                <a:close/>
                <a:moveTo>
                  <a:pt x="390456" y="353709"/>
                </a:moveTo>
                <a:cubicBezTo>
                  <a:pt x="393616" y="353709"/>
                  <a:pt x="395939" y="354820"/>
                  <a:pt x="397518" y="357043"/>
                </a:cubicBezTo>
                <a:cubicBezTo>
                  <a:pt x="399098" y="359359"/>
                  <a:pt x="399841" y="362693"/>
                  <a:pt x="399841" y="367046"/>
                </a:cubicBezTo>
                <a:cubicBezTo>
                  <a:pt x="399841" y="371677"/>
                  <a:pt x="399098" y="375011"/>
                  <a:pt x="397611" y="377141"/>
                </a:cubicBezTo>
                <a:cubicBezTo>
                  <a:pt x="396031" y="379272"/>
                  <a:pt x="393708" y="380383"/>
                  <a:pt x="390456" y="380383"/>
                </a:cubicBezTo>
                <a:cubicBezTo>
                  <a:pt x="387390" y="380383"/>
                  <a:pt x="385067" y="379272"/>
                  <a:pt x="383487" y="377049"/>
                </a:cubicBezTo>
                <a:cubicBezTo>
                  <a:pt x="381908" y="374826"/>
                  <a:pt x="381071" y="371492"/>
                  <a:pt x="381071" y="367046"/>
                </a:cubicBezTo>
                <a:cubicBezTo>
                  <a:pt x="381071" y="362508"/>
                  <a:pt x="381908" y="359081"/>
                  <a:pt x="383394" y="356951"/>
                </a:cubicBezTo>
                <a:cubicBezTo>
                  <a:pt x="384974" y="354820"/>
                  <a:pt x="387297" y="353709"/>
                  <a:pt x="390456" y="353709"/>
                </a:cubicBezTo>
                <a:close/>
                <a:moveTo>
                  <a:pt x="347835" y="353709"/>
                </a:moveTo>
                <a:cubicBezTo>
                  <a:pt x="350902" y="353709"/>
                  <a:pt x="353225" y="354820"/>
                  <a:pt x="354897" y="357043"/>
                </a:cubicBezTo>
                <a:cubicBezTo>
                  <a:pt x="356477" y="359359"/>
                  <a:pt x="357220" y="362693"/>
                  <a:pt x="357220" y="367046"/>
                </a:cubicBezTo>
                <a:cubicBezTo>
                  <a:pt x="357220" y="371677"/>
                  <a:pt x="356477" y="375011"/>
                  <a:pt x="354897" y="377141"/>
                </a:cubicBezTo>
                <a:cubicBezTo>
                  <a:pt x="353410" y="379272"/>
                  <a:pt x="350995" y="380383"/>
                  <a:pt x="347835" y="380383"/>
                </a:cubicBezTo>
                <a:cubicBezTo>
                  <a:pt x="344769" y="380383"/>
                  <a:pt x="342353" y="379272"/>
                  <a:pt x="340773" y="377049"/>
                </a:cubicBezTo>
                <a:cubicBezTo>
                  <a:pt x="339194" y="374826"/>
                  <a:pt x="338450" y="371492"/>
                  <a:pt x="338450" y="367046"/>
                </a:cubicBezTo>
                <a:cubicBezTo>
                  <a:pt x="338450" y="362508"/>
                  <a:pt x="339194" y="359081"/>
                  <a:pt x="340773" y="356951"/>
                </a:cubicBezTo>
                <a:cubicBezTo>
                  <a:pt x="342260" y="354820"/>
                  <a:pt x="344676" y="353709"/>
                  <a:pt x="347835" y="353709"/>
                </a:cubicBezTo>
                <a:close/>
                <a:moveTo>
                  <a:pt x="326489" y="353709"/>
                </a:moveTo>
                <a:cubicBezTo>
                  <a:pt x="329636" y="353709"/>
                  <a:pt x="331951" y="354820"/>
                  <a:pt x="333524" y="357043"/>
                </a:cubicBezTo>
                <a:cubicBezTo>
                  <a:pt x="335098" y="359359"/>
                  <a:pt x="335839" y="362693"/>
                  <a:pt x="335839" y="367046"/>
                </a:cubicBezTo>
                <a:cubicBezTo>
                  <a:pt x="335839" y="371677"/>
                  <a:pt x="335098" y="375011"/>
                  <a:pt x="333617" y="377141"/>
                </a:cubicBezTo>
                <a:cubicBezTo>
                  <a:pt x="332043" y="379272"/>
                  <a:pt x="329729" y="380383"/>
                  <a:pt x="326489" y="380383"/>
                </a:cubicBezTo>
                <a:cubicBezTo>
                  <a:pt x="323434" y="380383"/>
                  <a:pt x="321119" y="379272"/>
                  <a:pt x="319546" y="377049"/>
                </a:cubicBezTo>
                <a:cubicBezTo>
                  <a:pt x="317972" y="374826"/>
                  <a:pt x="317139" y="371492"/>
                  <a:pt x="317139" y="367046"/>
                </a:cubicBezTo>
                <a:cubicBezTo>
                  <a:pt x="317139" y="362508"/>
                  <a:pt x="317972" y="359081"/>
                  <a:pt x="319453" y="356951"/>
                </a:cubicBezTo>
                <a:cubicBezTo>
                  <a:pt x="321027" y="354820"/>
                  <a:pt x="323341" y="353709"/>
                  <a:pt x="326489" y="353709"/>
                </a:cubicBezTo>
                <a:close/>
                <a:moveTo>
                  <a:pt x="283902" y="353709"/>
                </a:moveTo>
                <a:cubicBezTo>
                  <a:pt x="286968" y="353709"/>
                  <a:pt x="289291" y="354820"/>
                  <a:pt x="290964" y="357043"/>
                </a:cubicBezTo>
                <a:cubicBezTo>
                  <a:pt x="292543" y="359359"/>
                  <a:pt x="293287" y="362693"/>
                  <a:pt x="293287" y="367046"/>
                </a:cubicBezTo>
                <a:cubicBezTo>
                  <a:pt x="293287" y="371677"/>
                  <a:pt x="292543" y="375011"/>
                  <a:pt x="290964" y="377141"/>
                </a:cubicBezTo>
                <a:cubicBezTo>
                  <a:pt x="289477" y="379272"/>
                  <a:pt x="287061" y="380383"/>
                  <a:pt x="283902" y="380383"/>
                </a:cubicBezTo>
                <a:cubicBezTo>
                  <a:pt x="280835" y="380383"/>
                  <a:pt x="278419" y="379272"/>
                  <a:pt x="276840" y="377049"/>
                </a:cubicBezTo>
                <a:cubicBezTo>
                  <a:pt x="275260" y="374826"/>
                  <a:pt x="274517" y="371492"/>
                  <a:pt x="274517" y="367046"/>
                </a:cubicBezTo>
                <a:cubicBezTo>
                  <a:pt x="274517" y="362508"/>
                  <a:pt x="275260" y="359081"/>
                  <a:pt x="276840" y="356951"/>
                </a:cubicBezTo>
                <a:cubicBezTo>
                  <a:pt x="278327" y="354820"/>
                  <a:pt x="280742" y="353709"/>
                  <a:pt x="283902" y="353709"/>
                </a:cubicBezTo>
                <a:close/>
                <a:moveTo>
                  <a:pt x="241281" y="353709"/>
                </a:moveTo>
                <a:cubicBezTo>
                  <a:pt x="244347" y="353709"/>
                  <a:pt x="246670" y="354820"/>
                  <a:pt x="248250" y="357043"/>
                </a:cubicBezTo>
                <a:cubicBezTo>
                  <a:pt x="249829" y="359359"/>
                  <a:pt x="250666" y="362693"/>
                  <a:pt x="250666" y="367046"/>
                </a:cubicBezTo>
                <a:cubicBezTo>
                  <a:pt x="250666" y="371677"/>
                  <a:pt x="249829" y="375011"/>
                  <a:pt x="248343" y="377141"/>
                </a:cubicBezTo>
                <a:cubicBezTo>
                  <a:pt x="246763" y="379272"/>
                  <a:pt x="244440" y="380383"/>
                  <a:pt x="241281" y="380383"/>
                </a:cubicBezTo>
                <a:cubicBezTo>
                  <a:pt x="238121" y="380383"/>
                  <a:pt x="235798" y="379272"/>
                  <a:pt x="234219" y="377049"/>
                </a:cubicBezTo>
                <a:cubicBezTo>
                  <a:pt x="232639" y="374826"/>
                  <a:pt x="231896" y="371492"/>
                  <a:pt x="231896" y="367046"/>
                </a:cubicBezTo>
                <a:cubicBezTo>
                  <a:pt x="231896" y="362508"/>
                  <a:pt x="232639" y="359081"/>
                  <a:pt x="234126" y="356951"/>
                </a:cubicBezTo>
                <a:cubicBezTo>
                  <a:pt x="235706" y="354820"/>
                  <a:pt x="238029" y="353709"/>
                  <a:pt x="241281" y="353709"/>
                </a:cubicBezTo>
                <a:close/>
                <a:moveTo>
                  <a:pt x="153215" y="349475"/>
                </a:moveTo>
                <a:cubicBezTo>
                  <a:pt x="152751" y="354481"/>
                  <a:pt x="152472" y="359580"/>
                  <a:pt x="152472" y="364679"/>
                </a:cubicBezTo>
                <a:cubicBezTo>
                  <a:pt x="152472" y="369778"/>
                  <a:pt x="152658" y="374784"/>
                  <a:pt x="153215" y="379698"/>
                </a:cubicBezTo>
                <a:cubicBezTo>
                  <a:pt x="118223" y="400557"/>
                  <a:pt x="76269" y="424012"/>
                  <a:pt x="42391" y="438475"/>
                </a:cubicBezTo>
                <a:cubicBezTo>
                  <a:pt x="40720" y="439216"/>
                  <a:pt x="39049" y="439587"/>
                  <a:pt x="37286" y="439587"/>
                </a:cubicBezTo>
                <a:cubicBezTo>
                  <a:pt x="32274" y="439587"/>
                  <a:pt x="27447" y="436620"/>
                  <a:pt x="25405" y="431707"/>
                </a:cubicBezTo>
                <a:cubicBezTo>
                  <a:pt x="22528" y="425125"/>
                  <a:pt x="25591" y="417523"/>
                  <a:pt x="32181" y="414649"/>
                </a:cubicBezTo>
                <a:cubicBezTo>
                  <a:pt x="69308" y="398796"/>
                  <a:pt x="116830" y="371539"/>
                  <a:pt x="153215" y="349475"/>
                </a:cubicBezTo>
                <a:close/>
                <a:moveTo>
                  <a:pt x="326489" y="303524"/>
                </a:moveTo>
                <a:cubicBezTo>
                  <a:pt x="325656" y="303524"/>
                  <a:pt x="325008" y="304080"/>
                  <a:pt x="324637" y="305192"/>
                </a:cubicBezTo>
                <a:cubicBezTo>
                  <a:pt x="324267" y="306304"/>
                  <a:pt x="324174" y="308344"/>
                  <a:pt x="324174" y="311310"/>
                </a:cubicBezTo>
                <a:cubicBezTo>
                  <a:pt x="324174" y="314276"/>
                  <a:pt x="324267" y="316223"/>
                  <a:pt x="324637" y="317335"/>
                </a:cubicBezTo>
                <a:cubicBezTo>
                  <a:pt x="325008" y="318447"/>
                  <a:pt x="325656" y="319003"/>
                  <a:pt x="326489" y="319003"/>
                </a:cubicBezTo>
                <a:cubicBezTo>
                  <a:pt x="327414" y="319003"/>
                  <a:pt x="327970" y="318447"/>
                  <a:pt x="328340" y="317335"/>
                </a:cubicBezTo>
                <a:cubicBezTo>
                  <a:pt x="328711" y="316130"/>
                  <a:pt x="328896" y="314183"/>
                  <a:pt x="328896" y="311310"/>
                </a:cubicBezTo>
                <a:cubicBezTo>
                  <a:pt x="328896" y="308436"/>
                  <a:pt x="328711" y="306397"/>
                  <a:pt x="328340" y="305285"/>
                </a:cubicBezTo>
                <a:cubicBezTo>
                  <a:pt x="327970" y="304080"/>
                  <a:pt x="327414" y="303524"/>
                  <a:pt x="326489" y="303524"/>
                </a:cubicBezTo>
                <a:close/>
                <a:moveTo>
                  <a:pt x="305213" y="303524"/>
                </a:moveTo>
                <a:cubicBezTo>
                  <a:pt x="304284" y="303524"/>
                  <a:pt x="303726" y="304080"/>
                  <a:pt x="303354" y="305192"/>
                </a:cubicBezTo>
                <a:cubicBezTo>
                  <a:pt x="302983" y="306304"/>
                  <a:pt x="302797" y="308344"/>
                  <a:pt x="302797" y="311310"/>
                </a:cubicBezTo>
                <a:cubicBezTo>
                  <a:pt x="302797" y="314276"/>
                  <a:pt x="302983" y="316223"/>
                  <a:pt x="303354" y="317335"/>
                </a:cubicBezTo>
                <a:cubicBezTo>
                  <a:pt x="303726" y="318447"/>
                  <a:pt x="304284" y="319003"/>
                  <a:pt x="305213" y="319003"/>
                </a:cubicBezTo>
                <a:cubicBezTo>
                  <a:pt x="306049" y="319003"/>
                  <a:pt x="306699" y="318447"/>
                  <a:pt x="307071" y="317335"/>
                </a:cubicBezTo>
                <a:cubicBezTo>
                  <a:pt x="307443" y="316130"/>
                  <a:pt x="307629" y="314183"/>
                  <a:pt x="307629" y="311310"/>
                </a:cubicBezTo>
                <a:cubicBezTo>
                  <a:pt x="307629" y="308436"/>
                  <a:pt x="307443" y="306397"/>
                  <a:pt x="307071" y="305285"/>
                </a:cubicBezTo>
                <a:cubicBezTo>
                  <a:pt x="306699" y="304080"/>
                  <a:pt x="306049" y="303524"/>
                  <a:pt x="305213" y="303524"/>
                </a:cubicBezTo>
                <a:close/>
                <a:moveTo>
                  <a:pt x="262521" y="303524"/>
                </a:moveTo>
                <a:cubicBezTo>
                  <a:pt x="261684" y="303524"/>
                  <a:pt x="261034" y="304080"/>
                  <a:pt x="260662" y="305192"/>
                </a:cubicBezTo>
                <a:cubicBezTo>
                  <a:pt x="260291" y="306304"/>
                  <a:pt x="260198" y="308344"/>
                  <a:pt x="260198" y="311310"/>
                </a:cubicBezTo>
                <a:cubicBezTo>
                  <a:pt x="260198" y="314276"/>
                  <a:pt x="260291" y="316223"/>
                  <a:pt x="260662" y="317335"/>
                </a:cubicBezTo>
                <a:cubicBezTo>
                  <a:pt x="261034" y="318447"/>
                  <a:pt x="261684" y="319003"/>
                  <a:pt x="262521" y="319003"/>
                </a:cubicBezTo>
                <a:cubicBezTo>
                  <a:pt x="263450" y="319003"/>
                  <a:pt x="264007" y="318447"/>
                  <a:pt x="264379" y="317335"/>
                </a:cubicBezTo>
                <a:cubicBezTo>
                  <a:pt x="264751" y="316130"/>
                  <a:pt x="264937" y="314183"/>
                  <a:pt x="264937" y="311310"/>
                </a:cubicBezTo>
                <a:cubicBezTo>
                  <a:pt x="264937" y="308436"/>
                  <a:pt x="264751" y="306397"/>
                  <a:pt x="264379" y="305285"/>
                </a:cubicBezTo>
                <a:cubicBezTo>
                  <a:pt x="264007" y="304080"/>
                  <a:pt x="263450" y="303524"/>
                  <a:pt x="262521" y="303524"/>
                </a:cubicBezTo>
                <a:close/>
                <a:moveTo>
                  <a:pt x="368924" y="298315"/>
                </a:moveTo>
                <a:lnTo>
                  <a:pt x="375215" y="298315"/>
                </a:lnTo>
                <a:lnTo>
                  <a:pt x="375215" y="324283"/>
                </a:lnTo>
                <a:lnTo>
                  <a:pt x="368092" y="324283"/>
                </a:lnTo>
                <a:lnTo>
                  <a:pt x="368092" y="310464"/>
                </a:lnTo>
                <a:cubicBezTo>
                  <a:pt x="368092" y="308795"/>
                  <a:pt x="368184" y="307311"/>
                  <a:pt x="368277" y="305920"/>
                </a:cubicBezTo>
                <a:cubicBezTo>
                  <a:pt x="367814" y="306476"/>
                  <a:pt x="367259" y="307033"/>
                  <a:pt x="366612" y="307589"/>
                </a:cubicBezTo>
                <a:lnTo>
                  <a:pt x="363651" y="310001"/>
                </a:lnTo>
                <a:lnTo>
                  <a:pt x="360043" y="305549"/>
                </a:lnTo>
                <a:close/>
                <a:moveTo>
                  <a:pt x="347583" y="298315"/>
                </a:moveTo>
                <a:lnTo>
                  <a:pt x="353903" y="298315"/>
                </a:lnTo>
                <a:lnTo>
                  <a:pt x="353903" y="324283"/>
                </a:lnTo>
                <a:lnTo>
                  <a:pt x="346840" y="324283"/>
                </a:lnTo>
                <a:lnTo>
                  <a:pt x="346840" y="310464"/>
                </a:lnTo>
                <a:cubicBezTo>
                  <a:pt x="346840" y="308795"/>
                  <a:pt x="346840" y="307311"/>
                  <a:pt x="346933" y="305920"/>
                </a:cubicBezTo>
                <a:cubicBezTo>
                  <a:pt x="346468" y="306476"/>
                  <a:pt x="345910" y="307033"/>
                  <a:pt x="345260" y="307589"/>
                </a:cubicBezTo>
                <a:lnTo>
                  <a:pt x="342286" y="310001"/>
                </a:lnTo>
                <a:lnTo>
                  <a:pt x="338661" y="305549"/>
                </a:lnTo>
                <a:close/>
                <a:moveTo>
                  <a:pt x="283580" y="298315"/>
                </a:moveTo>
                <a:lnTo>
                  <a:pt x="289900" y="298315"/>
                </a:lnTo>
                <a:lnTo>
                  <a:pt x="289900" y="324283"/>
                </a:lnTo>
                <a:lnTo>
                  <a:pt x="282836" y="324283"/>
                </a:lnTo>
                <a:lnTo>
                  <a:pt x="282836" y="310464"/>
                </a:lnTo>
                <a:cubicBezTo>
                  <a:pt x="282836" y="308795"/>
                  <a:pt x="282836" y="307311"/>
                  <a:pt x="282929" y="305920"/>
                </a:cubicBezTo>
                <a:cubicBezTo>
                  <a:pt x="282465" y="306476"/>
                  <a:pt x="281907" y="307033"/>
                  <a:pt x="281256" y="307589"/>
                </a:cubicBezTo>
                <a:lnTo>
                  <a:pt x="278282" y="310001"/>
                </a:lnTo>
                <a:lnTo>
                  <a:pt x="274658" y="305549"/>
                </a:lnTo>
                <a:close/>
                <a:moveTo>
                  <a:pt x="240959" y="298315"/>
                </a:moveTo>
                <a:lnTo>
                  <a:pt x="247279" y="298315"/>
                </a:lnTo>
                <a:lnTo>
                  <a:pt x="247279" y="324283"/>
                </a:lnTo>
                <a:lnTo>
                  <a:pt x="240122" y="324283"/>
                </a:lnTo>
                <a:lnTo>
                  <a:pt x="240122" y="310464"/>
                </a:lnTo>
                <a:cubicBezTo>
                  <a:pt x="240122" y="308795"/>
                  <a:pt x="240215" y="307311"/>
                  <a:pt x="240308" y="305920"/>
                </a:cubicBezTo>
                <a:cubicBezTo>
                  <a:pt x="239844" y="306476"/>
                  <a:pt x="239286" y="307033"/>
                  <a:pt x="238635" y="307589"/>
                </a:cubicBezTo>
                <a:lnTo>
                  <a:pt x="235661" y="310001"/>
                </a:lnTo>
                <a:lnTo>
                  <a:pt x="232037" y="305549"/>
                </a:lnTo>
                <a:close/>
                <a:moveTo>
                  <a:pt x="326489" y="297962"/>
                </a:moveTo>
                <a:cubicBezTo>
                  <a:pt x="329636" y="297962"/>
                  <a:pt x="331951" y="299074"/>
                  <a:pt x="333524" y="301299"/>
                </a:cubicBezTo>
                <a:cubicBezTo>
                  <a:pt x="335098" y="303524"/>
                  <a:pt x="335839" y="306861"/>
                  <a:pt x="335839" y="311310"/>
                </a:cubicBezTo>
                <a:cubicBezTo>
                  <a:pt x="335839" y="315945"/>
                  <a:pt x="335098" y="319281"/>
                  <a:pt x="333617" y="321413"/>
                </a:cubicBezTo>
                <a:cubicBezTo>
                  <a:pt x="332043" y="323545"/>
                  <a:pt x="329729" y="324565"/>
                  <a:pt x="326489" y="324565"/>
                </a:cubicBezTo>
                <a:cubicBezTo>
                  <a:pt x="323434" y="324565"/>
                  <a:pt x="321119" y="323453"/>
                  <a:pt x="319546" y="321228"/>
                </a:cubicBezTo>
                <a:cubicBezTo>
                  <a:pt x="317972" y="319003"/>
                  <a:pt x="317139" y="315759"/>
                  <a:pt x="317139" y="311310"/>
                </a:cubicBezTo>
                <a:cubicBezTo>
                  <a:pt x="317139" y="306675"/>
                  <a:pt x="317972" y="303338"/>
                  <a:pt x="319453" y="301206"/>
                </a:cubicBezTo>
                <a:cubicBezTo>
                  <a:pt x="321027" y="298982"/>
                  <a:pt x="323341" y="297962"/>
                  <a:pt x="326489" y="297962"/>
                </a:cubicBezTo>
                <a:close/>
                <a:moveTo>
                  <a:pt x="305213" y="297962"/>
                </a:moveTo>
                <a:cubicBezTo>
                  <a:pt x="308279" y="297962"/>
                  <a:pt x="310602" y="299074"/>
                  <a:pt x="312182" y="301299"/>
                </a:cubicBezTo>
                <a:cubicBezTo>
                  <a:pt x="313761" y="303524"/>
                  <a:pt x="314598" y="306861"/>
                  <a:pt x="314598" y="311310"/>
                </a:cubicBezTo>
                <a:cubicBezTo>
                  <a:pt x="314598" y="315945"/>
                  <a:pt x="313761" y="319281"/>
                  <a:pt x="312275" y="321413"/>
                </a:cubicBezTo>
                <a:cubicBezTo>
                  <a:pt x="310695" y="323545"/>
                  <a:pt x="308372" y="324565"/>
                  <a:pt x="305213" y="324565"/>
                </a:cubicBezTo>
                <a:cubicBezTo>
                  <a:pt x="302053" y="324565"/>
                  <a:pt x="299730" y="323453"/>
                  <a:pt x="298151" y="321228"/>
                </a:cubicBezTo>
                <a:cubicBezTo>
                  <a:pt x="296571" y="319003"/>
                  <a:pt x="295828" y="315759"/>
                  <a:pt x="295828" y="311310"/>
                </a:cubicBezTo>
                <a:cubicBezTo>
                  <a:pt x="295828" y="306675"/>
                  <a:pt x="296571" y="303338"/>
                  <a:pt x="298151" y="301206"/>
                </a:cubicBezTo>
                <a:cubicBezTo>
                  <a:pt x="299638" y="298982"/>
                  <a:pt x="301961" y="297962"/>
                  <a:pt x="305213" y="297962"/>
                </a:cubicBezTo>
                <a:close/>
                <a:moveTo>
                  <a:pt x="262521" y="297962"/>
                </a:moveTo>
                <a:cubicBezTo>
                  <a:pt x="265680" y="297962"/>
                  <a:pt x="268003" y="299074"/>
                  <a:pt x="269583" y="301299"/>
                </a:cubicBezTo>
                <a:cubicBezTo>
                  <a:pt x="271162" y="303524"/>
                  <a:pt x="271906" y="306861"/>
                  <a:pt x="271906" y="311310"/>
                </a:cubicBezTo>
                <a:cubicBezTo>
                  <a:pt x="271906" y="315945"/>
                  <a:pt x="271162" y="319281"/>
                  <a:pt x="269676" y="321413"/>
                </a:cubicBezTo>
                <a:cubicBezTo>
                  <a:pt x="268096" y="323545"/>
                  <a:pt x="265773" y="324565"/>
                  <a:pt x="262521" y="324565"/>
                </a:cubicBezTo>
                <a:cubicBezTo>
                  <a:pt x="259454" y="324565"/>
                  <a:pt x="257131" y="323453"/>
                  <a:pt x="255552" y="321228"/>
                </a:cubicBezTo>
                <a:cubicBezTo>
                  <a:pt x="253972" y="319003"/>
                  <a:pt x="253136" y="315759"/>
                  <a:pt x="253136" y="311310"/>
                </a:cubicBezTo>
                <a:cubicBezTo>
                  <a:pt x="253136" y="306675"/>
                  <a:pt x="253972" y="303338"/>
                  <a:pt x="255459" y="301206"/>
                </a:cubicBezTo>
                <a:cubicBezTo>
                  <a:pt x="257038" y="298982"/>
                  <a:pt x="259361" y="297962"/>
                  <a:pt x="262521" y="297962"/>
                </a:cubicBezTo>
                <a:close/>
                <a:moveTo>
                  <a:pt x="307067" y="266195"/>
                </a:moveTo>
                <a:cubicBezTo>
                  <a:pt x="274847" y="266195"/>
                  <a:pt x="246248" y="282231"/>
                  <a:pt x="228885" y="306702"/>
                </a:cubicBezTo>
                <a:cubicBezTo>
                  <a:pt x="229164" y="308092"/>
                  <a:pt x="229257" y="309668"/>
                  <a:pt x="229257" y="311337"/>
                </a:cubicBezTo>
                <a:cubicBezTo>
                  <a:pt x="229257" y="315879"/>
                  <a:pt x="228514" y="319308"/>
                  <a:pt x="226935" y="321440"/>
                </a:cubicBezTo>
                <a:cubicBezTo>
                  <a:pt x="225450" y="323572"/>
                  <a:pt x="223035" y="324592"/>
                  <a:pt x="219878" y="324592"/>
                </a:cubicBezTo>
                <a:cubicBezTo>
                  <a:pt x="219507" y="324592"/>
                  <a:pt x="219228" y="324592"/>
                  <a:pt x="218950" y="324592"/>
                </a:cubicBezTo>
                <a:cubicBezTo>
                  <a:pt x="214307" y="335437"/>
                  <a:pt x="211707" y="347394"/>
                  <a:pt x="211429" y="359815"/>
                </a:cubicBezTo>
                <a:cubicBezTo>
                  <a:pt x="211800" y="358702"/>
                  <a:pt x="212265" y="357683"/>
                  <a:pt x="212822" y="356941"/>
                </a:cubicBezTo>
                <a:cubicBezTo>
                  <a:pt x="214307" y="354809"/>
                  <a:pt x="216721" y="353697"/>
                  <a:pt x="219878" y="353697"/>
                </a:cubicBezTo>
                <a:cubicBezTo>
                  <a:pt x="222943" y="353697"/>
                  <a:pt x="225264" y="354809"/>
                  <a:pt x="226935" y="357034"/>
                </a:cubicBezTo>
                <a:cubicBezTo>
                  <a:pt x="228514" y="359351"/>
                  <a:pt x="229257" y="362688"/>
                  <a:pt x="229257" y="367045"/>
                </a:cubicBezTo>
                <a:cubicBezTo>
                  <a:pt x="229257" y="371679"/>
                  <a:pt x="228514" y="375016"/>
                  <a:pt x="226935" y="377148"/>
                </a:cubicBezTo>
                <a:cubicBezTo>
                  <a:pt x="225450" y="379280"/>
                  <a:pt x="223035" y="380392"/>
                  <a:pt x="219878" y="380392"/>
                </a:cubicBezTo>
                <a:cubicBezTo>
                  <a:pt x="216814" y="380392"/>
                  <a:pt x="214400" y="379280"/>
                  <a:pt x="212822" y="377056"/>
                </a:cubicBezTo>
                <a:cubicBezTo>
                  <a:pt x="212729" y="376870"/>
                  <a:pt x="212636" y="376685"/>
                  <a:pt x="212543" y="376499"/>
                </a:cubicBezTo>
                <a:cubicBezTo>
                  <a:pt x="214400" y="388920"/>
                  <a:pt x="218764" y="400599"/>
                  <a:pt x="225078" y="410981"/>
                </a:cubicBezTo>
                <a:cubicBezTo>
                  <a:pt x="225728" y="411444"/>
                  <a:pt x="226378" y="412093"/>
                  <a:pt x="226842" y="412835"/>
                </a:cubicBezTo>
                <a:cubicBezTo>
                  <a:pt x="227492" y="413762"/>
                  <a:pt x="228049" y="414781"/>
                  <a:pt x="228421" y="416079"/>
                </a:cubicBezTo>
                <a:cubicBezTo>
                  <a:pt x="229535" y="417655"/>
                  <a:pt x="230649" y="419231"/>
                  <a:pt x="231856" y="420714"/>
                </a:cubicBezTo>
                <a:cubicBezTo>
                  <a:pt x="232135" y="417191"/>
                  <a:pt x="232878" y="414503"/>
                  <a:pt x="234085" y="412649"/>
                </a:cubicBezTo>
                <a:cubicBezTo>
                  <a:pt x="235663" y="410518"/>
                  <a:pt x="237985" y="409498"/>
                  <a:pt x="241234" y="409498"/>
                </a:cubicBezTo>
                <a:cubicBezTo>
                  <a:pt x="244299" y="409498"/>
                  <a:pt x="246620" y="410610"/>
                  <a:pt x="248198" y="412835"/>
                </a:cubicBezTo>
                <a:cubicBezTo>
                  <a:pt x="249777" y="415059"/>
                  <a:pt x="250612" y="418396"/>
                  <a:pt x="250612" y="422846"/>
                </a:cubicBezTo>
                <a:cubicBezTo>
                  <a:pt x="250612" y="427388"/>
                  <a:pt x="249777" y="430817"/>
                  <a:pt x="248291" y="432949"/>
                </a:cubicBezTo>
                <a:cubicBezTo>
                  <a:pt x="247641" y="433876"/>
                  <a:pt x="246806" y="434525"/>
                  <a:pt x="245784" y="435081"/>
                </a:cubicBezTo>
                <a:cubicBezTo>
                  <a:pt x="262405" y="448892"/>
                  <a:pt x="283761" y="457235"/>
                  <a:pt x="307067" y="457235"/>
                </a:cubicBezTo>
                <a:cubicBezTo>
                  <a:pt x="330280" y="457235"/>
                  <a:pt x="351543" y="448985"/>
                  <a:pt x="368071" y="435266"/>
                </a:cubicBezTo>
                <a:lnTo>
                  <a:pt x="368071" y="422011"/>
                </a:lnTo>
                <a:cubicBezTo>
                  <a:pt x="368071" y="420343"/>
                  <a:pt x="368164" y="418860"/>
                  <a:pt x="368257" y="417469"/>
                </a:cubicBezTo>
                <a:cubicBezTo>
                  <a:pt x="367792" y="418026"/>
                  <a:pt x="367235" y="418582"/>
                  <a:pt x="366585" y="419138"/>
                </a:cubicBezTo>
                <a:lnTo>
                  <a:pt x="363614" y="421548"/>
                </a:lnTo>
                <a:lnTo>
                  <a:pt x="359993" y="417099"/>
                </a:lnTo>
                <a:lnTo>
                  <a:pt x="368907" y="409869"/>
                </a:lnTo>
                <a:lnTo>
                  <a:pt x="375220" y="409869"/>
                </a:lnTo>
                <a:lnTo>
                  <a:pt x="375220" y="428685"/>
                </a:lnTo>
                <a:cubicBezTo>
                  <a:pt x="377263" y="426646"/>
                  <a:pt x="379213" y="424421"/>
                  <a:pt x="381070" y="422197"/>
                </a:cubicBezTo>
                <a:cubicBezTo>
                  <a:pt x="381163" y="417933"/>
                  <a:pt x="381906" y="414689"/>
                  <a:pt x="383391" y="412649"/>
                </a:cubicBezTo>
                <a:cubicBezTo>
                  <a:pt x="384877" y="410703"/>
                  <a:pt x="387013" y="409591"/>
                  <a:pt x="389891" y="409498"/>
                </a:cubicBezTo>
                <a:cubicBezTo>
                  <a:pt x="398062" y="395409"/>
                  <a:pt x="402705" y="379095"/>
                  <a:pt x="402705" y="361761"/>
                </a:cubicBezTo>
                <a:cubicBezTo>
                  <a:pt x="402705" y="348414"/>
                  <a:pt x="400012" y="335807"/>
                  <a:pt x="395091" y="324221"/>
                </a:cubicBezTo>
                <a:lnTo>
                  <a:pt x="389427" y="324221"/>
                </a:lnTo>
                <a:lnTo>
                  <a:pt x="389427" y="313190"/>
                </a:lnTo>
                <a:cubicBezTo>
                  <a:pt x="388498" y="311707"/>
                  <a:pt x="387570" y="310132"/>
                  <a:pt x="386641" y="308741"/>
                </a:cubicBezTo>
                <a:lnTo>
                  <a:pt x="384970" y="310039"/>
                </a:lnTo>
                <a:lnTo>
                  <a:pt x="381349" y="305590"/>
                </a:lnTo>
                <a:lnTo>
                  <a:pt x="383206" y="304014"/>
                </a:lnTo>
                <a:cubicBezTo>
                  <a:pt x="365750" y="281026"/>
                  <a:pt x="338079" y="266195"/>
                  <a:pt x="307067" y="266195"/>
                </a:cubicBezTo>
                <a:close/>
                <a:moveTo>
                  <a:pt x="307067" y="232548"/>
                </a:moveTo>
                <a:cubicBezTo>
                  <a:pt x="378470" y="232548"/>
                  <a:pt x="436503" y="290481"/>
                  <a:pt x="436503" y="361761"/>
                </a:cubicBezTo>
                <a:cubicBezTo>
                  <a:pt x="436503" y="392072"/>
                  <a:pt x="426011" y="419972"/>
                  <a:pt x="408462" y="442033"/>
                </a:cubicBezTo>
                <a:lnTo>
                  <a:pt x="524991" y="558362"/>
                </a:lnTo>
                <a:cubicBezTo>
                  <a:pt x="534833" y="568187"/>
                  <a:pt x="534833" y="584223"/>
                  <a:pt x="524991" y="594141"/>
                </a:cubicBezTo>
                <a:cubicBezTo>
                  <a:pt x="519977" y="599054"/>
                  <a:pt x="513570" y="601464"/>
                  <a:pt x="507070" y="601464"/>
                </a:cubicBezTo>
                <a:cubicBezTo>
                  <a:pt x="500571" y="601464"/>
                  <a:pt x="494071" y="599054"/>
                  <a:pt x="489150" y="594141"/>
                </a:cubicBezTo>
                <a:lnTo>
                  <a:pt x="369649" y="474846"/>
                </a:lnTo>
                <a:cubicBezTo>
                  <a:pt x="351079" y="485135"/>
                  <a:pt x="329722" y="490975"/>
                  <a:pt x="307067" y="490975"/>
                </a:cubicBezTo>
                <a:cubicBezTo>
                  <a:pt x="235663" y="490975"/>
                  <a:pt x="177631" y="433042"/>
                  <a:pt x="177631" y="361761"/>
                </a:cubicBezTo>
                <a:cubicBezTo>
                  <a:pt x="177631" y="290481"/>
                  <a:pt x="235663" y="232548"/>
                  <a:pt x="307067" y="232548"/>
                </a:cubicBezTo>
                <a:close/>
                <a:moveTo>
                  <a:pt x="267052" y="174469"/>
                </a:moveTo>
                <a:cubicBezTo>
                  <a:pt x="270324" y="173936"/>
                  <a:pt x="273806" y="174654"/>
                  <a:pt x="276731" y="176740"/>
                </a:cubicBezTo>
                <a:cubicBezTo>
                  <a:pt x="282580" y="180819"/>
                  <a:pt x="283973" y="188977"/>
                  <a:pt x="279795" y="194817"/>
                </a:cubicBezTo>
                <a:cubicBezTo>
                  <a:pt x="272738" y="204551"/>
                  <a:pt x="265311" y="213914"/>
                  <a:pt x="257419" y="222907"/>
                </a:cubicBezTo>
                <a:cubicBezTo>
                  <a:pt x="217495" y="235144"/>
                  <a:pt x="184628" y="263882"/>
                  <a:pt x="166894" y="301057"/>
                </a:cubicBezTo>
                <a:cubicBezTo>
                  <a:pt x="103667" y="343608"/>
                  <a:pt x="42945" y="366043"/>
                  <a:pt x="25676" y="371976"/>
                </a:cubicBezTo>
                <a:lnTo>
                  <a:pt x="25212" y="372069"/>
                </a:lnTo>
                <a:cubicBezTo>
                  <a:pt x="23726" y="372625"/>
                  <a:pt x="22241" y="372903"/>
                  <a:pt x="20755" y="372903"/>
                </a:cubicBezTo>
                <a:cubicBezTo>
                  <a:pt x="15556" y="372903"/>
                  <a:pt x="10635" y="369658"/>
                  <a:pt x="8593" y="364467"/>
                </a:cubicBezTo>
                <a:cubicBezTo>
                  <a:pt x="6086" y="357792"/>
                  <a:pt x="9428" y="350283"/>
                  <a:pt x="16206" y="347780"/>
                </a:cubicBezTo>
                <a:cubicBezTo>
                  <a:pt x="16299" y="347780"/>
                  <a:pt x="16670" y="347595"/>
                  <a:pt x="17227" y="347409"/>
                </a:cubicBezTo>
                <a:cubicBezTo>
                  <a:pt x="44152" y="338231"/>
                  <a:pt x="182121" y="286780"/>
                  <a:pt x="258626" y="179706"/>
                </a:cubicBezTo>
                <a:cubicBezTo>
                  <a:pt x="260715" y="176786"/>
                  <a:pt x="263779" y="175002"/>
                  <a:pt x="267052" y="174469"/>
                </a:cubicBezTo>
                <a:close/>
                <a:moveTo>
                  <a:pt x="266929" y="112462"/>
                </a:moveTo>
                <a:cubicBezTo>
                  <a:pt x="275362" y="111567"/>
                  <a:pt x="283533" y="112268"/>
                  <a:pt x="291286" y="114631"/>
                </a:cubicBezTo>
                <a:cubicBezTo>
                  <a:pt x="312455" y="121118"/>
                  <a:pt x="328054" y="133722"/>
                  <a:pt x="336410" y="151237"/>
                </a:cubicBezTo>
                <a:cubicBezTo>
                  <a:pt x="345788" y="170791"/>
                  <a:pt x="345603" y="195999"/>
                  <a:pt x="335760" y="220372"/>
                </a:cubicBezTo>
                <a:cubicBezTo>
                  <a:pt x="327218" y="218333"/>
                  <a:pt x="318305" y="217036"/>
                  <a:pt x="309113" y="216572"/>
                </a:cubicBezTo>
                <a:cubicBezTo>
                  <a:pt x="310041" y="214626"/>
                  <a:pt x="310877" y="212680"/>
                  <a:pt x="311713" y="210827"/>
                </a:cubicBezTo>
                <a:cubicBezTo>
                  <a:pt x="318769" y="193126"/>
                  <a:pt x="319233" y="175425"/>
                  <a:pt x="313012" y="162451"/>
                </a:cubicBezTo>
                <a:cubicBezTo>
                  <a:pt x="307813" y="151515"/>
                  <a:pt x="297878" y="143730"/>
                  <a:pt x="283672" y="139467"/>
                </a:cubicBezTo>
                <a:cubicBezTo>
                  <a:pt x="259532" y="132054"/>
                  <a:pt x="228521" y="155037"/>
                  <a:pt x="207630" y="178947"/>
                </a:cubicBezTo>
                <a:cubicBezTo>
                  <a:pt x="207166" y="179410"/>
                  <a:pt x="156470" y="233254"/>
                  <a:pt x="100576" y="267451"/>
                </a:cubicBezTo>
                <a:cubicBezTo>
                  <a:pt x="98812" y="268470"/>
                  <a:pt x="59258" y="292195"/>
                  <a:pt x="16363" y="303872"/>
                </a:cubicBezTo>
                <a:cubicBezTo>
                  <a:pt x="9492" y="305725"/>
                  <a:pt x="2343" y="301647"/>
                  <a:pt x="486" y="294697"/>
                </a:cubicBezTo>
                <a:cubicBezTo>
                  <a:pt x="-1464" y="287839"/>
                  <a:pt x="2621" y="280703"/>
                  <a:pt x="9585" y="278849"/>
                </a:cubicBezTo>
                <a:cubicBezTo>
                  <a:pt x="48952" y="268099"/>
                  <a:pt x="86741" y="245487"/>
                  <a:pt x="87113" y="245301"/>
                </a:cubicBezTo>
                <a:cubicBezTo>
                  <a:pt x="138644" y="213792"/>
                  <a:pt x="187667" y="162265"/>
                  <a:pt x="188132" y="161802"/>
                </a:cubicBezTo>
                <a:cubicBezTo>
                  <a:pt x="213967" y="132193"/>
                  <a:pt x="241630" y="115146"/>
                  <a:pt x="266929" y="112462"/>
                </a:cubicBezTo>
                <a:close/>
                <a:moveTo>
                  <a:pt x="244723" y="55536"/>
                </a:moveTo>
                <a:cubicBezTo>
                  <a:pt x="251780" y="54794"/>
                  <a:pt x="257723" y="61933"/>
                  <a:pt x="257723" y="68516"/>
                </a:cubicBezTo>
                <a:cubicBezTo>
                  <a:pt x="257723" y="76118"/>
                  <a:pt x="251780" y="80754"/>
                  <a:pt x="244723" y="81403"/>
                </a:cubicBezTo>
                <a:cubicBezTo>
                  <a:pt x="241844" y="81774"/>
                  <a:pt x="241008" y="81774"/>
                  <a:pt x="237108" y="82608"/>
                </a:cubicBezTo>
                <a:cubicBezTo>
                  <a:pt x="225501" y="85019"/>
                  <a:pt x="215844" y="88449"/>
                  <a:pt x="206279" y="93363"/>
                </a:cubicBezTo>
                <a:cubicBezTo>
                  <a:pt x="196157" y="98555"/>
                  <a:pt x="186500" y="104767"/>
                  <a:pt x="177493" y="111627"/>
                </a:cubicBezTo>
                <a:cubicBezTo>
                  <a:pt x="176936" y="112091"/>
                  <a:pt x="174986" y="113667"/>
                  <a:pt x="174707" y="113853"/>
                </a:cubicBezTo>
                <a:cubicBezTo>
                  <a:pt x="173686" y="114687"/>
                  <a:pt x="172664" y="115521"/>
                  <a:pt x="171643" y="116356"/>
                </a:cubicBezTo>
                <a:cubicBezTo>
                  <a:pt x="169600" y="118117"/>
                  <a:pt x="167650" y="119786"/>
                  <a:pt x="165700" y="121548"/>
                </a:cubicBezTo>
                <a:cubicBezTo>
                  <a:pt x="161893" y="124885"/>
                  <a:pt x="158271" y="128316"/>
                  <a:pt x="154743" y="131839"/>
                </a:cubicBezTo>
                <a:cubicBezTo>
                  <a:pt x="148242" y="138422"/>
                  <a:pt x="142021" y="145190"/>
                  <a:pt x="136171" y="152329"/>
                </a:cubicBezTo>
                <a:cubicBezTo>
                  <a:pt x="121871" y="169852"/>
                  <a:pt x="106270" y="185984"/>
                  <a:pt x="88163" y="199705"/>
                </a:cubicBezTo>
                <a:cubicBezTo>
                  <a:pt x="78784" y="206844"/>
                  <a:pt x="68755" y="211943"/>
                  <a:pt x="58634" y="217692"/>
                </a:cubicBezTo>
                <a:cubicBezTo>
                  <a:pt x="46655" y="224553"/>
                  <a:pt x="34583" y="231321"/>
                  <a:pt x="21305" y="235307"/>
                </a:cubicBezTo>
                <a:cubicBezTo>
                  <a:pt x="14526" y="237347"/>
                  <a:pt x="7190" y="232989"/>
                  <a:pt x="5333" y="226314"/>
                </a:cubicBezTo>
                <a:cubicBezTo>
                  <a:pt x="3476" y="219361"/>
                  <a:pt x="7654" y="212407"/>
                  <a:pt x="14433" y="210367"/>
                </a:cubicBezTo>
                <a:cubicBezTo>
                  <a:pt x="18797" y="208977"/>
                  <a:pt x="22140" y="207771"/>
                  <a:pt x="26133" y="205917"/>
                </a:cubicBezTo>
                <a:cubicBezTo>
                  <a:pt x="37462" y="200354"/>
                  <a:pt x="48605" y="194050"/>
                  <a:pt x="59562" y="187745"/>
                </a:cubicBezTo>
                <a:cubicBezTo>
                  <a:pt x="69870" y="181812"/>
                  <a:pt x="76927" y="176156"/>
                  <a:pt x="85749" y="168275"/>
                </a:cubicBezTo>
                <a:cubicBezTo>
                  <a:pt x="94199" y="160580"/>
                  <a:pt x="102370" y="152514"/>
                  <a:pt x="109799" y="143799"/>
                </a:cubicBezTo>
                <a:cubicBezTo>
                  <a:pt x="115556" y="137124"/>
                  <a:pt x="120849" y="130170"/>
                  <a:pt x="126699" y="123680"/>
                </a:cubicBezTo>
                <a:cubicBezTo>
                  <a:pt x="157621" y="89654"/>
                  <a:pt x="197829" y="60357"/>
                  <a:pt x="244723" y="55536"/>
                </a:cubicBezTo>
                <a:close/>
                <a:moveTo>
                  <a:pt x="231681" y="216"/>
                </a:moveTo>
                <a:cubicBezTo>
                  <a:pt x="231774" y="216"/>
                  <a:pt x="231867" y="216"/>
                  <a:pt x="231959" y="309"/>
                </a:cubicBezTo>
                <a:cubicBezTo>
                  <a:pt x="287851" y="4294"/>
                  <a:pt x="332973" y="32103"/>
                  <a:pt x="366026" y="82992"/>
                </a:cubicBezTo>
                <a:cubicBezTo>
                  <a:pt x="391651" y="122479"/>
                  <a:pt x="402142" y="164377"/>
                  <a:pt x="406134" y="180135"/>
                </a:cubicBezTo>
                <a:cubicBezTo>
                  <a:pt x="406599" y="181803"/>
                  <a:pt x="407063" y="183657"/>
                  <a:pt x="407248" y="184492"/>
                </a:cubicBezTo>
                <a:cubicBezTo>
                  <a:pt x="407620" y="185140"/>
                  <a:pt x="407806" y="185882"/>
                  <a:pt x="407991" y="186624"/>
                </a:cubicBezTo>
                <a:cubicBezTo>
                  <a:pt x="410869" y="199044"/>
                  <a:pt x="415697" y="212856"/>
                  <a:pt x="418204" y="216193"/>
                </a:cubicBezTo>
                <a:cubicBezTo>
                  <a:pt x="423589" y="220457"/>
                  <a:pt x="424610" y="228243"/>
                  <a:pt x="420525" y="233805"/>
                </a:cubicBezTo>
                <a:cubicBezTo>
                  <a:pt x="418018" y="237327"/>
                  <a:pt x="414026" y="239181"/>
                  <a:pt x="410034" y="239181"/>
                </a:cubicBezTo>
                <a:cubicBezTo>
                  <a:pt x="407434" y="239181"/>
                  <a:pt x="404742" y="238439"/>
                  <a:pt x="402421" y="236771"/>
                </a:cubicBezTo>
                <a:cubicBezTo>
                  <a:pt x="393229" y="230097"/>
                  <a:pt x="386730" y="209797"/>
                  <a:pt x="382923" y="193483"/>
                </a:cubicBezTo>
                <a:cubicBezTo>
                  <a:pt x="382366" y="191907"/>
                  <a:pt x="381809" y="189868"/>
                  <a:pt x="380974" y="186438"/>
                </a:cubicBezTo>
                <a:cubicBezTo>
                  <a:pt x="355906" y="86885"/>
                  <a:pt x="303820" y="31454"/>
                  <a:pt x="230288" y="26170"/>
                </a:cubicBezTo>
                <a:cubicBezTo>
                  <a:pt x="141066" y="21628"/>
                  <a:pt x="79325" y="103662"/>
                  <a:pt x="52957" y="138701"/>
                </a:cubicBezTo>
                <a:lnTo>
                  <a:pt x="49893" y="142779"/>
                </a:lnTo>
                <a:cubicBezTo>
                  <a:pt x="42837" y="152049"/>
                  <a:pt x="35224" y="158723"/>
                  <a:pt x="30117" y="162708"/>
                </a:cubicBezTo>
                <a:cubicBezTo>
                  <a:pt x="18512" y="171607"/>
                  <a:pt x="14705" y="171607"/>
                  <a:pt x="10620" y="170773"/>
                </a:cubicBezTo>
                <a:cubicBezTo>
                  <a:pt x="5700" y="169660"/>
                  <a:pt x="1800" y="165767"/>
                  <a:pt x="686" y="160855"/>
                </a:cubicBezTo>
                <a:cubicBezTo>
                  <a:pt x="-335" y="155942"/>
                  <a:pt x="1614" y="150751"/>
                  <a:pt x="5607" y="147692"/>
                </a:cubicBezTo>
                <a:cubicBezTo>
                  <a:pt x="6628" y="146950"/>
                  <a:pt x="7649" y="146394"/>
                  <a:pt x="8763" y="145931"/>
                </a:cubicBezTo>
                <a:cubicBezTo>
                  <a:pt x="12013" y="144077"/>
                  <a:pt x="21297" y="137588"/>
                  <a:pt x="29189" y="127114"/>
                </a:cubicBezTo>
                <a:lnTo>
                  <a:pt x="32253" y="123128"/>
                </a:lnTo>
                <a:cubicBezTo>
                  <a:pt x="61127" y="84753"/>
                  <a:pt x="128717" y="-4975"/>
                  <a:pt x="231681" y="216"/>
                </a:cubicBezTo>
                <a:close/>
              </a:path>
            </a:pathLst>
          </a:custGeom>
          <a:solidFill>
            <a:schemeClr val="tx2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03" name="任意多边形 12">
            <a:extLst>
              <a:ext uri="{FF2B5EF4-FFF2-40B4-BE49-F238E27FC236}">
                <a16:creationId xmlns="" xmlns:a16="http://schemas.microsoft.com/office/drawing/2014/main" id="{A1DA9C70-B862-469D-987A-F91EC9B69527}"/>
              </a:ext>
            </a:extLst>
          </p:cNvPr>
          <p:cNvSpPr/>
          <p:nvPr/>
        </p:nvSpPr>
        <p:spPr bwMode="auto">
          <a:xfrm rot="10800000" flipH="1" flipV="1">
            <a:off x="9761023" y="2258172"/>
            <a:ext cx="389107" cy="338311"/>
          </a:xfrm>
          <a:custGeom>
            <a:avLst/>
            <a:gdLst>
              <a:gd name="connsiteX0" fmla="*/ 442319 w 554926"/>
              <a:gd name="connsiteY0" fmla="*/ 470545 h 607568"/>
              <a:gd name="connsiteX1" fmla="*/ 427264 w 554926"/>
              <a:gd name="connsiteY1" fmla="*/ 476682 h 607568"/>
              <a:gd name="connsiteX2" fmla="*/ 420965 w 554926"/>
              <a:gd name="connsiteY2" fmla="*/ 491718 h 607568"/>
              <a:gd name="connsiteX3" fmla="*/ 427264 w 554926"/>
              <a:gd name="connsiteY3" fmla="*/ 506754 h 607568"/>
              <a:gd name="connsiteX4" fmla="*/ 442319 w 554926"/>
              <a:gd name="connsiteY4" fmla="*/ 513045 h 607568"/>
              <a:gd name="connsiteX5" fmla="*/ 457374 w 554926"/>
              <a:gd name="connsiteY5" fmla="*/ 506754 h 607568"/>
              <a:gd name="connsiteX6" fmla="*/ 463519 w 554926"/>
              <a:gd name="connsiteY6" fmla="*/ 491718 h 607568"/>
              <a:gd name="connsiteX7" fmla="*/ 457374 w 554926"/>
              <a:gd name="connsiteY7" fmla="*/ 476682 h 607568"/>
              <a:gd name="connsiteX8" fmla="*/ 442319 w 554926"/>
              <a:gd name="connsiteY8" fmla="*/ 470545 h 607568"/>
              <a:gd name="connsiteX9" fmla="*/ 442012 w 554926"/>
              <a:gd name="connsiteY9" fmla="*/ 375995 h 607568"/>
              <a:gd name="connsiteX10" fmla="*/ 426956 w 554926"/>
              <a:gd name="connsiteY10" fmla="*/ 382324 h 607568"/>
              <a:gd name="connsiteX11" fmla="*/ 332631 w 554926"/>
              <a:gd name="connsiteY11" fmla="*/ 476375 h 607568"/>
              <a:gd name="connsiteX12" fmla="*/ 332631 w 554926"/>
              <a:gd name="connsiteY12" fmla="*/ 506447 h 607568"/>
              <a:gd name="connsiteX13" fmla="*/ 347686 w 554926"/>
              <a:gd name="connsiteY13" fmla="*/ 512738 h 607568"/>
              <a:gd name="connsiteX14" fmla="*/ 362741 w 554926"/>
              <a:gd name="connsiteY14" fmla="*/ 506447 h 607568"/>
              <a:gd name="connsiteX15" fmla="*/ 457067 w 554926"/>
              <a:gd name="connsiteY15" fmla="*/ 412396 h 607568"/>
              <a:gd name="connsiteX16" fmla="*/ 457067 w 554926"/>
              <a:gd name="connsiteY16" fmla="*/ 382324 h 607568"/>
              <a:gd name="connsiteX17" fmla="*/ 442012 w 554926"/>
              <a:gd name="connsiteY17" fmla="*/ 375995 h 607568"/>
              <a:gd name="connsiteX18" fmla="*/ 347379 w 554926"/>
              <a:gd name="connsiteY18" fmla="*/ 375726 h 607568"/>
              <a:gd name="connsiteX19" fmla="*/ 332323 w 554926"/>
              <a:gd name="connsiteY19" fmla="*/ 382017 h 607568"/>
              <a:gd name="connsiteX20" fmla="*/ 326178 w 554926"/>
              <a:gd name="connsiteY20" fmla="*/ 397053 h 607568"/>
              <a:gd name="connsiteX21" fmla="*/ 332323 w 554926"/>
              <a:gd name="connsiteY21" fmla="*/ 412089 h 607568"/>
              <a:gd name="connsiteX22" fmla="*/ 347379 w 554926"/>
              <a:gd name="connsiteY22" fmla="*/ 418226 h 607568"/>
              <a:gd name="connsiteX23" fmla="*/ 362434 w 554926"/>
              <a:gd name="connsiteY23" fmla="*/ 412089 h 607568"/>
              <a:gd name="connsiteX24" fmla="*/ 368732 w 554926"/>
              <a:gd name="connsiteY24" fmla="*/ 397053 h 607568"/>
              <a:gd name="connsiteX25" fmla="*/ 362434 w 554926"/>
              <a:gd name="connsiteY25" fmla="*/ 382017 h 607568"/>
              <a:gd name="connsiteX26" fmla="*/ 347379 w 554926"/>
              <a:gd name="connsiteY26" fmla="*/ 375726 h 607568"/>
              <a:gd name="connsiteX27" fmla="*/ 120600 w 554926"/>
              <a:gd name="connsiteY27" fmla="*/ 339072 h 607568"/>
              <a:gd name="connsiteX28" fmla="*/ 99246 w 554926"/>
              <a:gd name="connsiteY28" fmla="*/ 360245 h 607568"/>
              <a:gd name="connsiteX29" fmla="*/ 120600 w 554926"/>
              <a:gd name="connsiteY29" fmla="*/ 381571 h 607568"/>
              <a:gd name="connsiteX30" fmla="*/ 158240 w 554926"/>
              <a:gd name="connsiteY30" fmla="*/ 381571 h 607568"/>
              <a:gd name="connsiteX31" fmla="*/ 179594 w 554926"/>
              <a:gd name="connsiteY31" fmla="*/ 360245 h 607568"/>
              <a:gd name="connsiteX32" fmla="*/ 158240 w 554926"/>
              <a:gd name="connsiteY32" fmla="*/ 339072 h 607568"/>
              <a:gd name="connsiteX33" fmla="*/ 394849 w 554926"/>
              <a:gd name="connsiteY33" fmla="*/ 284590 h 607568"/>
              <a:gd name="connsiteX34" fmla="*/ 554926 w 554926"/>
              <a:gd name="connsiteY34" fmla="*/ 444462 h 607568"/>
              <a:gd name="connsiteX35" fmla="*/ 394849 w 554926"/>
              <a:gd name="connsiteY35" fmla="*/ 604181 h 607568"/>
              <a:gd name="connsiteX36" fmla="*/ 234771 w 554926"/>
              <a:gd name="connsiteY36" fmla="*/ 444462 h 607568"/>
              <a:gd name="connsiteX37" fmla="*/ 394849 w 554926"/>
              <a:gd name="connsiteY37" fmla="*/ 284590 h 607568"/>
              <a:gd name="connsiteX38" fmla="*/ 120600 w 554926"/>
              <a:gd name="connsiteY38" fmla="*/ 225997 h 607568"/>
              <a:gd name="connsiteX39" fmla="*/ 99246 w 554926"/>
              <a:gd name="connsiteY39" fmla="*/ 247323 h 607568"/>
              <a:gd name="connsiteX40" fmla="*/ 120600 w 554926"/>
              <a:gd name="connsiteY40" fmla="*/ 268496 h 607568"/>
              <a:gd name="connsiteX41" fmla="*/ 271465 w 554926"/>
              <a:gd name="connsiteY41" fmla="*/ 268496 h 607568"/>
              <a:gd name="connsiteX42" fmla="*/ 292666 w 554926"/>
              <a:gd name="connsiteY42" fmla="*/ 247323 h 607568"/>
              <a:gd name="connsiteX43" fmla="*/ 271465 w 554926"/>
              <a:gd name="connsiteY43" fmla="*/ 225997 h 607568"/>
              <a:gd name="connsiteX44" fmla="*/ 120600 w 554926"/>
              <a:gd name="connsiteY44" fmla="*/ 113075 h 607568"/>
              <a:gd name="connsiteX45" fmla="*/ 99246 w 554926"/>
              <a:gd name="connsiteY45" fmla="*/ 134248 h 607568"/>
              <a:gd name="connsiteX46" fmla="*/ 120600 w 554926"/>
              <a:gd name="connsiteY46" fmla="*/ 155574 h 607568"/>
              <a:gd name="connsiteX47" fmla="*/ 271465 w 554926"/>
              <a:gd name="connsiteY47" fmla="*/ 155574 h 607568"/>
              <a:gd name="connsiteX48" fmla="*/ 292666 w 554926"/>
              <a:gd name="connsiteY48" fmla="*/ 134248 h 607568"/>
              <a:gd name="connsiteX49" fmla="*/ 271465 w 554926"/>
              <a:gd name="connsiteY49" fmla="*/ 113075 h 607568"/>
              <a:gd name="connsiteX50" fmla="*/ 21355 w 554926"/>
              <a:gd name="connsiteY50" fmla="*/ 0 h 607568"/>
              <a:gd name="connsiteX51" fmla="*/ 384538 w 554926"/>
              <a:gd name="connsiteY51" fmla="*/ 0 h 607568"/>
              <a:gd name="connsiteX52" fmla="*/ 405892 w 554926"/>
              <a:gd name="connsiteY52" fmla="*/ 21326 h 607568"/>
              <a:gd name="connsiteX53" fmla="*/ 405892 w 554926"/>
              <a:gd name="connsiteY53" fmla="*/ 242414 h 607568"/>
              <a:gd name="connsiteX54" fmla="*/ 394831 w 554926"/>
              <a:gd name="connsiteY54" fmla="*/ 242107 h 607568"/>
              <a:gd name="connsiteX55" fmla="*/ 192192 w 554926"/>
              <a:gd name="connsiteY55" fmla="*/ 444476 h 607568"/>
              <a:gd name="connsiteX56" fmla="*/ 275153 w 554926"/>
              <a:gd name="connsiteY56" fmla="*/ 607568 h 607568"/>
              <a:gd name="connsiteX57" fmla="*/ 21355 w 554926"/>
              <a:gd name="connsiteY57" fmla="*/ 607568 h 607568"/>
              <a:gd name="connsiteX58" fmla="*/ 0 w 554926"/>
              <a:gd name="connsiteY58" fmla="*/ 586242 h 607568"/>
              <a:gd name="connsiteX59" fmla="*/ 0 w 554926"/>
              <a:gd name="connsiteY59" fmla="*/ 21326 h 607568"/>
              <a:gd name="connsiteX60" fmla="*/ 21355 w 554926"/>
              <a:gd name="connsiteY60" fmla="*/ 0 h 60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554926" h="607568">
                <a:moveTo>
                  <a:pt x="442319" y="470545"/>
                </a:moveTo>
                <a:cubicBezTo>
                  <a:pt x="436635" y="470545"/>
                  <a:pt x="431258" y="472693"/>
                  <a:pt x="427264" y="476682"/>
                </a:cubicBezTo>
                <a:cubicBezTo>
                  <a:pt x="423269" y="480671"/>
                  <a:pt x="420965" y="486195"/>
                  <a:pt x="420965" y="491718"/>
                </a:cubicBezTo>
                <a:cubicBezTo>
                  <a:pt x="420965" y="497395"/>
                  <a:pt x="423269" y="502765"/>
                  <a:pt x="427264" y="506754"/>
                </a:cubicBezTo>
                <a:cubicBezTo>
                  <a:pt x="431258" y="510743"/>
                  <a:pt x="436635" y="513045"/>
                  <a:pt x="442319" y="513045"/>
                </a:cubicBezTo>
                <a:cubicBezTo>
                  <a:pt x="447849" y="513045"/>
                  <a:pt x="453380" y="510743"/>
                  <a:pt x="457374" y="506754"/>
                </a:cubicBezTo>
                <a:cubicBezTo>
                  <a:pt x="461368" y="502765"/>
                  <a:pt x="463519" y="497395"/>
                  <a:pt x="463519" y="491718"/>
                </a:cubicBezTo>
                <a:cubicBezTo>
                  <a:pt x="463519" y="486195"/>
                  <a:pt x="461368" y="480671"/>
                  <a:pt x="457374" y="476682"/>
                </a:cubicBezTo>
                <a:cubicBezTo>
                  <a:pt x="453380" y="472693"/>
                  <a:pt x="447849" y="470545"/>
                  <a:pt x="442319" y="470545"/>
                </a:cubicBezTo>
                <a:close/>
                <a:moveTo>
                  <a:pt x="442012" y="375995"/>
                </a:moveTo>
                <a:cubicBezTo>
                  <a:pt x="436558" y="375995"/>
                  <a:pt x="431104" y="378105"/>
                  <a:pt x="426956" y="382324"/>
                </a:cubicBezTo>
                <a:lnTo>
                  <a:pt x="332631" y="476375"/>
                </a:lnTo>
                <a:cubicBezTo>
                  <a:pt x="324335" y="484660"/>
                  <a:pt x="324335" y="498162"/>
                  <a:pt x="332631" y="506447"/>
                </a:cubicBezTo>
                <a:cubicBezTo>
                  <a:pt x="336778" y="510743"/>
                  <a:pt x="342309" y="512738"/>
                  <a:pt x="347686" y="512738"/>
                </a:cubicBezTo>
                <a:cubicBezTo>
                  <a:pt x="353216" y="512738"/>
                  <a:pt x="358593" y="510590"/>
                  <a:pt x="362741" y="506447"/>
                </a:cubicBezTo>
                <a:lnTo>
                  <a:pt x="457067" y="412396"/>
                </a:lnTo>
                <a:cubicBezTo>
                  <a:pt x="465363" y="404111"/>
                  <a:pt x="465363" y="390609"/>
                  <a:pt x="457067" y="382324"/>
                </a:cubicBezTo>
                <a:cubicBezTo>
                  <a:pt x="452919" y="378105"/>
                  <a:pt x="447465" y="375995"/>
                  <a:pt x="442012" y="375995"/>
                </a:cubicBezTo>
                <a:close/>
                <a:moveTo>
                  <a:pt x="347379" y="375726"/>
                </a:moveTo>
                <a:cubicBezTo>
                  <a:pt x="341848" y="375726"/>
                  <a:pt x="336318" y="378028"/>
                  <a:pt x="332323" y="382017"/>
                </a:cubicBezTo>
                <a:cubicBezTo>
                  <a:pt x="328329" y="386006"/>
                  <a:pt x="326178" y="391376"/>
                  <a:pt x="326178" y="397053"/>
                </a:cubicBezTo>
                <a:cubicBezTo>
                  <a:pt x="326178" y="402576"/>
                  <a:pt x="328329" y="408100"/>
                  <a:pt x="332323" y="412089"/>
                </a:cubicBezTo>
                <a:cubicBezTo>
                  <a:pt x="336318" y="416078"/>
                  <a:pt x="341848" y="418226"/>
                  <a:pt x="347379" y="418226"/>
                </a:cubicBezTo>
                <a:cubicBezTo>
                  <a:pt x="353063" y="418226"/>
                  <a:pt x="358440" y="416078"/>
                  <a:pt x="362434" y="412089"/>
                </a:cubicBezTo>
                <a:cubicBezTo>
                  <a:pt x="366428" y="408100"/>
                  <a:pt x="368732" y="402576"/>
                  <a:pt x="368732" y="397053"/>
                </a:cubicBezTo>
                <a:cubicBezTo>
                  <a:pt x="368732" y="391376"/>
                  <a:pt x="366428" y="386006"/>
                  <a:pt x="362434" y="382017"/>
                </a:cubicBezTo>
                <a:cubicBezTo>
                  <a:pt x="358440" y="378028"/>
                  <a:pt x="353063" y="375726"/>
                  <a:pt x="347379" y="375726"/>
                </a:cubicBezTo>
                <a:close/>
                <a:moveTo>
                  <a:pt x="120600" y="339072"/>
                </a:moveTo>
                <a:cubicBezTo>
                  <a:pt x="108771" y="339072"/>
                  <a:pt x="99246" y="348584"/>
                  <a:pt x="99246" y="360245"/>
                </a:cubicBezTo>
                <a:cubicBezTo>
                  <a:pt x="99246" y="372059"/>
                  <a:pt x="108771" y="381571"/>
                  <a:pt x="120600" y="381571"/>
                </a:cubicBezTo>
                <a:lnTo>
                  <a:pt x="158240" y="381571"/>
                </a:lnTo>
                <a:cubicBezTo>
                  <a:pt x="170069" y="381571"/>
                  <a:pt x="179594" y="372059"/>
                  <a:pt x="179594" y="360245"/>
                </a:cubicBezTo>
                <a:cubicBezTo>
                  <a:pt x="179594" y="348584"/>
                  <a:pt x="170069" y="339072"/>
                  <a:pt x="158240" y="339072"/>
                </a:cubicBezTo>
                <a:close/>
                <a:moveTo>
                  <a:pt x="394849" y="284590"/>
                </a:moveTo>
                <a:cubicBezTo>
                  <a:pt x="483183" y="284590"/>
                  <a:pt x="554926" y="356088"/>
                  <a:pt x="554926" y="444462"/>
                </a:cubicBezTo>
                <a:cubicBezTo>
                  <a:pt x="554926" y="532683"/>
                  <a:pt x="483183" y="604181"/>
                  <a:pt x="394849" y="604181"/>
                </a:cubicBezTo>
                <a:cubicBezTo>
                  <a:pt x="306514" y="604181"/>
                  <a:pt x="234771" y="532683"/>
                  <a:pt x="234771" y="444462"/>
                </a:cubicBezTo>
                <a:cubicBezTo>
                  <a:pt x="234771" y="356088"/>
                  <a:pt x="306514" y="284590"/>
                  <a:pt x="394849" y="284590"/>
                </a:cubicBezTo>
                <a:close/>
                <a:moveTo>
                  <a:pt x="120600" y="225997"/>
                </a:moveTo>
                <a:cubicBezTo>
                  <a:pt x="108771" y="225997"/>
                  <a:pt x="99246" y="235509"/>
                  <a:pt x="99246" y="247323"/>
                </a:cubicBezTo>
                <a:cubicBezTo>
                  <a:pt x="99246" y="258984"/>
                  <a:pt x="108771" y="268496"/>
                  <a:pt x="120600" y="268496"/>
                </a:cubicBezTo>
                <a:lnTo>
                  <a:pt x="271465" y="268496"/>
                </a:lnTo>
                <a:cubicBezTo>
                  <a:pt x="283141" y="268496"/>
                  <a:pt x="292666" y="258984"/>
                  <a:pt x="292666" y="247323"/>
                </a:cubicBezTo>
                <a:cubicBezTo>
                  <a:pt x="292666" y="235509"/>
                  <a:pt x="283141" y="225997"/>
                  <a:pt x="271465" y="225997"/>
                </a:cubicBezTo>
                <a:close/>
                <a:moveTo>
                  <a:pt x="120600" y="113075"/>
                </a:moveTo>
                <a:cubicBezTo>
                  <a:pt x="108771" y="113075"/>
                  <a:pt x="99246" y="122588"/>
                  <a:pt x="99246" y="134248"/>
                </a:cubicBezTo>
                <a:cubicBezTo>
                  <a:pt x="99246" y="146062"/>
                  <a:pt x="108771" y="155574"/>
                  <a:pt x="120600" y="155574"/>
                </a:cubicBezTo>
                <a:lnTo>
                  <a:pt x="271465" y="155574"/>
                </a:lnTo>
                <a:cubicBezTo>
                  <a:pt x="283141" y="155574"/>
                  <a:pt x="292666" y="146062"/>
                  <a:pt x="292666" y="134248"/>
                </a:cubicBezTo>
                <a:cubicBezTo>
                  <a:pt x="292666" y="122588"/>
                  <a:pt x="283141" y="113075"/>
                  <a:pt x="271465" y="113075"/>
                </a:cubicBezTo>
                <a:close/>
                <a:moveTo>
                  <a:pt x="21355" y="0"/>
                </a:moveTo>
                <a:lnTo>
                  <a:pt x="384538" y="0"/>
                </a:lnTo>
                <a:cubicBezTo>
                  <a:pt x="396367" y="0"/>
                  <a:pt x="405892" y="9512"/>
                  <a:pt x="405892" y="21326"/>
                </a:cubicBezTo>
                <a:lnTo>
                  <a:pt x="405892" y="242414"/>
                </a:lnTo>
                <a:cubicBezTo>
                  <a:pt x="402205" y="242107"/>
                  <a:pt x="398518" y="242107"/>
                  <a:pt x="394831" y="242107"/>
                </a:cubicBezTo>
                <a:cubicBezTo>
                  <a:pt x="283141" y="242107"/>
                  <a:pt x="192192" y="332782"/>
                  <a:pt x="192192" y="444476"/>
                </a:cubicBezTo>
                <a:cubicBezTo>
                  <a:pt x="192192" y="511370"/>
                  <a:pt x="224915" y="570746"/>
                  <a:pt x="275153" y="607568"/>
                </a:cubicBezTo>
                <a:lnTo>
                  <a:pt x="21355" y="607568"/>
                </a:lnTo>
                <a:cubicBezTo>
                  <a:pt x="9679" y="607568"/>
                  <a:pt x="0" y="598056"/>
                  <a:pt x="0" y="586242"/>
                </a:cubicBezTo>
                <a:lnTo>
                  <a:pt x="0" y="21326"/>
                </a:lnTo>
                <a:cubicBezTo>
                  <a:pt x="0" y="9512"/>
                  <a:pt x="9679" y="0"/>
                  <a:pt x="21355" y="0"/>
                </a:cubicBezTo>
                <a:close/>
              </a:path>
            </a:pathLst>
          </a:custGeom>
          <a:solidFill>
            <a:schemeClr val="tx2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pic>
        <p:nvPicPr>
          <p:cNvPr id="105" name="Graphic 104" descr="Bullseye">
            <a:extLst>
              <a:ext uri="{FF2B5EF4-FFF2-40B4-BE49-F238E27FC236}">
                <a16:creationId xmlns="" xmlns:a16="http://schemas.microsoft.com/office/drawing/2014/main" id="{BD33B6F0-3939-4396-A479-D37CA724D7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92576" y="2167218"/>
            <a:ext cx="480326" cy="480326"/>
          </a:xfrm>
          <a:prstGeom prst="rect">
            <a:avLst/>
          </a:prstGeom>
          <a:effectLst/>
        </p:spPr>
      </p:pic>
      <p:sp>
        <p:nvSpPr>
          <p:cNvPr id="31" name="TextBox 96">
            <a:extLst>
              <a:ext uri="{FF2B5EF4-FFF2-40B4-BE49-F238E27FC236}">
                <a16:creationId xmlns="" xmlns:a16="http://schemas.microsoft.com/office/drawing/2014/main" id="{CA1721EA-EB0B-4F0C-BDB1-0D48444747DE}"/>
              </a:ext>
            </a:extLst>
          </p:cNvPr>
          <p:cNvSpPr txBox="1"/>
          <p:nvPr/>
        </p:nvSpPr>
        <p:spPr>
          <a:xfrm>
            <a:off x="8391642" y="5049371"/>
            <a:ext cx="29623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dvanced Mode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ontent Placeholder 11">
            <a:extLst>
              <a:ext uri="{FF2B5EF4-FFF2-40B4-BE49-F238E27FC236}">
                <a16:creationId xmlns="" xmlns:a16="http://schemas.microsoft.com/office/drawing/2014/main" id="{E4362F96-BB76-4633-8B58-FC915B073C40}"/>
              </a:ext>
            </a:extLst>
          </p:cNvPr>
          <p:cNvSpPr txBox="1">
            <a:spLocks/>
          </p:cNvSpPr>
          <p:nvPr/>
        </p:nvSpPr>
        <p:spPr>
          <a:xfrm>
            <a:off x="8391642" y="5323541"/>
            <a:ext cx="2962375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 smtClean="0"/>
              <a:t>Log-based correlation 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000" dirty="0" smtClean="0"/>
              <a:t>Event-based </a:t>
            </a:r>
            <a:r>
              <a:rPr lang="en-US" sz="1000" dirty="0" smtClean="0"/>
              <a:t>correlation </a:t>
            </a:r>
            <a:endParaRPr lang="x-none" sz="1000" dirty="0"/>
          </a:p>
        </p:txBody>
      </p:sp>
    </p:spTree>
    <p:extLst>
      <p:ext uri="{BB962C8B-B14F-4D97-AF65-F5344CB8AC3E}">
        <p14:creationId xmlns:p14="http://schemas.microsoft.com/office/powerpoint/2010/main" val="26838483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hreat Aggregation</a:t>
            </a:r>
            <a:endParaRPr lang="zh-CN" altLang="en-US" dirty="0"/>
          </a:p>
        </p:txBody>
      </p:sp>
      <p:sp>
        <p:nvSpPr>
          <p:cNvPr id="7" name="Rectangle 22">
            <a:extLst>
              <a:ext uri="{FF2B5EF4-FFF2-40B4-BE49-F238E27FC236}">
                <a16:creationId xmlns="" xmlns:a16="http://schemas.microsoft.com/office/drawing/2014/main" id="{92DB14B1-8BDC-4E2E-A6F8-E23AF07AEFF3}"/>
              </a:ext>
            </a:extLst>
          </p:cNvPr>
          <p:cNvSpPr/>
          <p:nvPr/>
        </p:nvSpPr>
        <p:spPr>
          <a:xfrm>
            <a:off x="593004" y="3238381"/>
            <a:ext cx="5417271" cy="2882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5">
            <a:extLst>
              <a:ext uri="{FF2B5EF4-FFF2-40B4-BE49-F238E27FC236}">
                <a16:creationId xmlns="" xmlns:a16="http://schemas.microsoft.com/office/drawing/2014/main" id="{AC8B8DE3-704B-4034-AE28-350E1BD10EE0}"/>
              </a:ext>
            </a:extLst>
          </p:cNvPr>
          <p:cNvSpPr/>
          <p:nvPr/>
        </p:nvSpPr>
        <p:spPr>
          <a:xfrm>
            <a:off x="6187354" y="3238380"/>
            <a:ext cx="5417271" cy="2882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 4">
            <a:extLst>
              <a:ext uri="{FF2B5EF4-FFF2-40B4-BE49-F238E27FC236}">
                <a16:creationId xmlns="" xmlns:a16="http://schemas.microsoft.com/office/drawing/2014/main" id="{54F409E8-5A1B-4303-9F50-0C91E4AFB139}"/>
              </a:ext>
            </a:extLst>
          </p:cNvPr>
          <p:cNvGrpSpPr/>
          <p:nvPr/>
        </p:nvGrpSpPr>
        <p:grpSpPr>
          <a:xfrm>
            <a:off x="587374" y="1371600"/>
            <a:ext cx="11017249" cy="541480"/>
            <a:chOff x="587374" y="1469882"/>
            <a:chExt cx="6709058" cy="443198"/>
          </a:xfrm>
        </p:grpSpPr>
        <p:sp>
          <p:nvSpPr>
            <p:cNvPr id="12" name="Rectangle 2">
              <a:extLst>
                <a:ext uri="{FF2B5EF4-FFF2-40B4-BE49-F238E27FC236}">
                  <a16:creationId xmlns="" xmlns:a16="http://schemas.microsoft.com/office/drawing/2014/main" id="{4179C47E-93D9-4987-AF37-39583E616ACD}"/>
                </a:ext>
              </a:extLst>
            </p:cNvPr>
            <p:cNvSpPr/>
            <p:nvPr/>
          </p:nvSpPr>
          <p:spPr>
            <a:xfrm>
              <a:off x="587374" y="1469882"/>
              <a:ext cx="3302327" cy="44319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0" rtlCol="0" anchor="ctr"/>
            <a:lstStyle/>
            <a:p>
              <a:r>
                <a:rPr lang="en-US" altLang="zh-CN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hreat Aggregation</a:t>
              </a:r>
              <a:endParaRPr lang="en-US" altLang="zh-CN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13" name="Rectangle 30">
              <a:extLst>
                <a:ext uri="{FF2B5EF4-FFF2-40B4-BE49-F238E27FC236}">
                  <a16:creationId xmlns="" xmlns:a16="http://schemas.microsoft.com/office/drawing/2014/main" id="{CEAD46BF-7C58-4E93-AFC7-08E9B54F4EF6}"/>
                </a:ext>
              </a:extLst>
            </p:cNvPr>
            <p:cNvSpPr/>
            <p:nvPr/>
          </p:nvSpPr>
          <p:spPr>
            <a:xfrm>
              <a:off x="3997534" y="1469882"/>
              <a:ext cx="3298898" cy="44319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0" rtlCol="0" anchor="ctr"/>
            <a:lstStyle/>
            <a:p>
              <a:r>
                <a:rPr lang="en-US" altLang="zh-CN" b="1" dirty="0" smtClean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ggregated Response</a:t>
              </a:r>
              <a:endParaRPr lang="en-US" altLang="zh-CN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</p:grpSp>
      <p:sp>
        <p:nvSpPr>
          <p:cNvPr id="14" name="文本框 5">
            <a:extLst>
              <a:ext uri="{FF2B5EF4-FFF2-40B4-BE49-F238E27FC236}">
                <a16:creationId xmlns="" xmlns:a16="http://schemas.microsoft.com/office/drawing/2014/main" id="{153ECE7E-DEEB-4DDF-B844-DDC17D065355}"/>
              </a:ext>
            </a:extLst>
          </p:cNvPr>
          <p:cNvSpPr txBox="1"/>
          <p:nvPr/>
        </p:nvSpPr>
        <p:spPr>
          <a:xfrm>
            <a:off x="587374" y="2077942"/>
            <a:ext cx="5422901" cy="7797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ts val="1500"/>
              </a:lnSpc>
              <a:defRPr sz="900"/>
            </a:lvl1pPr>
          </a:lstStyle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ggregates threat events by: threat 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name, threat type, attack success status, etc. 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ggregated analysis from: event, attacker, victim 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nvestigation </a:t>
            </a:r>
            <a:endParaRPr lang="en-US" altLang="zh-CN" sz="1100" dirty="0" smtClean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econdary aggregation 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of 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hreat events 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with 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dentical names 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nd 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ource/destination 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P 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ddresses</a:t>
            </a:r>
          </a:p>
        </p:txBody>
      </p:sp>
      <p:sp>
        <p:nvSpPr>
          <p:cNvPr id="15" name="文本框 10">
            <a:extLst>
              <a:ext uri="{FF2B5EF4-FFF2-40B4-BE49-F238E27FC236}">
                <a16:creationId xmlns="" xmlns:a16="http://schemas.microsoft.com/office/drawing/2014/main" id="{48B9B2B5-53D8-49E7-B9D0-BB4097319575}"/>
              </a:ext>
            </a:extLst>
          </p:cNvPr>
          <p:cNvSpPr txBox="1"/>
          <p:nvPr/>
        </p:nvSpPr>
        <p:spPr>
          <a:xfrm>
            <a:off x="6187353" y="2077942"/>
            <a:ext cx="5135825" cy="3898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ts val="1500"/>
              </a:lnSpc>
              <a:defRPr sz="900"/>
            </a:lvl1pPr>
          </a:lstStyle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batch 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marking and 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remediation of 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he aggregated 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hreat events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Remediation includes policy configuration and IP block configuration</a:t>
            </a:r>
          </a:p>
        </p:txBody>
      </p:sp>
      <p:sp>
        <p:nvSpPr>
          <p:cNvPr id="16" name="椭圆 7">
            <a:extLst>
              <a:ext uri="{FF2B5EF4-FFF2-40B4-BE49-F238E27FC236}">
                <a16:creationId xmlns="" xmlns:a16="http://schemas.microsoft.com/office/drawing/2014/main" id="{7FB29455-87C0-4F22-B49F-4A3EF9F9AA55}"/>
              </a:ext>
            </a:extLst>
          </p:cNvPr>
          <p:cNvSpPr/>
          <p:nvPr/>
        </p:nvSpPr>
        <p:spPr>
          <a:xfrm>
            <a:off x="781712" y="1437241"/>
            <a:ext cx="410200" cy="410198"/>
          </a:xfrm>
          <a:prstGeom prst="ellipse">
            <a:avLst/>
          </a:prstGeom>
          <a:solidFill>
            <a:schemeClr val="bg1"/>
          </a:solidFill>
          <a:ln w="5715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3765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7" name="任意多边形 5">
            <a:extLst>
              <a:ext uri="{FF2B5EF4-FFF2-40B4-BE49-F238E27FC236}">
                <a16:creationId xmlns="" xmlns:a16="http://schemas.microsoft.com/office/drawing/2014/main" id="{6D9CAF0E-61F0-4FFB-9EA3-A0F61C2EBF4E}"/>
              </a:ext>
            </a:extLst>
          </p:cNvPr>
          <p:cNvSpPr/>
          <p:nvPr/>
        </p:nvSpPr>
        <p:spPr>
          <a:xfrm>
            <a:off x="867268" y="1557591"/>
            <a:ext cx="239088" cy="179314"/>
          </a:xfrm>
          <a:custGeom>
            <a:avLst/>
            <a:gdLst>
              <a:gd name="connsiteX0" fmla="*/ 505433 w 533400"/>
              <a:gd name="connsiteY0" fmla="*/ 621 h 400050"/>
              <a:gd name="connsiteX1" fmla="*/ 534008 w 533400"/>
              <a:gd name="connsiteY1" fmla="*/ 29196 h 400050"/>
              <a:gd name="connsiteX2" fmla="*/ 534008 w 533400"/>
              <a:gd name="connsiteY2" fmla="*/ 372096 h 400050"/>
              <a:gd name="connsiteX3" fmla="*/ 505433 w 533400"/>
              <a:gd name="connsiteY3" fmla="*/ 400671 h 400050"/>
              <a:gd name="connsiteX4" fmla="*/ 29183 w 533400"/>
              <a:gd name="connsiteY4" fmla="*/ 400671 h 400050"/>
              <a:gd name="connsiteX5" fmla="*/ 608 w 533400"/>
              <a:gd name="connsiteY5" fmla="*/ 372096 h 400050"/>
              <a:gd name="connsiteX6" fmla="*/ 608 w 533400"/>
              <a:gd name="connsiteY6" fmla="*/ 29196 h 400050"/>
              <a:gd name="connsiteX7" fmla="*/ 29183 w 533400"/>
              <a:gd name="connsiteY7" fmla="*/ 621 h 400050"/>
              <a:gd name="connsiteX8" fmla="*/ 505433 w 533400"/>
              <a:gd name="connsiteY8" fmla="*/ 621 h 400050"/>
              <a:gd name="connsiteX9" fmla="*/ 391419 w 533400"/>
              <a:gd name="connsiteY9" fmla="*/ 198646 h 400050"/>
              <a:gd name="connsiteX10" fmla="*/ 351414 w 533400"/>
              <a:gd name="connsiteY10" fmla="*/ 204170 h 400050"/>
              <a:gd name="connsiteX11" fmla="*/ 351414 w 533400"/>
              <a:gd name="connsiteY11" fmla="*/ 204170 h 400050"/>
              <a:gd name="connsiteX12" fmla="*/ 267118 w 533400"/>
              <a:gd name="connsiteY12" fmla="*/ 315613 h 400050"/>
              <a:gd name="connsiteX13" fmla="*/ 264641 w 533400"/>
              <a:gd name="connsiteY13" fmla="*/ 318470 h 400050"/>
              <a:gd name="connsiteX14" fmla="*/ 224255 w 533400"/>
              <a:gd name="connsiteY14" fmla="*/ 318756 h 400050"/>
              <a:gd name="connsiteX15" fmla="*/ 224255 w 533400"/>
              <a:gd name="connsiteY15" fmla="*/ 318756 h 400050"/>
              <a:gd name="connsiteX16" fmla="*/ 162152 w 533400"/>
              <a:gd name="connsiteY16" fmla="*/ 257415 h 400050"/>
              <a:gd name="connsiteX17" fmla="*/ 160247 w 533400"/>
              <a:gd name="connsiteY17" fmla="*/ 255701 h 400050"/>
              <a:gd name="connsiteX18" fmla="*/ 120052 w 533400"/>
              <a:gd name="connsiteY18" fmla="*/ 259606 h 400050"/>
              <a:gd name="connsiteX19" fmla="*/ 120052 w 533400"/>
              <a:gd name="connsiteY19" fmla="*/ 259606 h 400050"/>
              <a:gd name="connsiteX20" fmla="*/ 32517 w 533400"/>
              <a:gd name="connsiteY20" fmla="*/ 366095 h 400050"/>
              <a:gd name="connsiteX21" fmla="*/ 30326 w 533400"/>
              <a:gd name="connsiteY21" fmla="*/ 372096 h 400050"/>
              <a:gd name="connsiteX22" fmla="*/ 39851 w 533400"/>
              <a:gd name="connsiteY22" fmla="*/ 381621 h 400050"/>
              <a:gd name="connsiteX23" fmla="*/ 39851 w 533400"/>
              <a:gd name="connsiteY23" fmla="*/ 381621 h 400050"/>
              <a:gd name="connsiteX24" fmla="*/ 497242 w 533400"/>
              <a:gd name="connsiteY24" fmla="*/ 381621 h 400050"/>
              <a:gd name="connsiteX25" fmla="*/ 502480 w 533400"/>
              <a:gd name="connsiteY25" fmla="*/ 380002 h 400050"/>
              <a:gd name="connsiteX26" fmla="*/ 505147 w 533400"/>
              <a:gd name="connsiteY26" fmla="*/ 366762 h 400050"/>
              <a:gd name="connsiteX27" fmla="*/ 505147 w 533400"/>
              <a:gd name="connsiteY27" fmla="*/ 366762 h 400050"/>
              <a:gd name="connsiteX28" fmla="*/ 397991 w 533400"/>
              <a:gd name="connsiteY28" fmla="*/ 205504 h 400050"/>
              <a:gd name="connsiteX29" fmla="*/ 391419 w 533400"/>
              <a:gd name="connsiteY29" fmla="*/ 198646 h 400050"/>
              <a:gd name="connsiteX30" fmla="*/ 95858 w 533400"/>
              <a:gd name="connsiteY30" fmla="*/ 57771 h 400050"/>
              <a:gd name="connsiteX31" fmla="*/ 57758 w 533400"/>
              <a:gd name="connsiteY31" fmla="*/ 95871 h 400050"/>
              <a:gd name="connsiteX32" fmla="*/ 95858 w 533400"/>
              <a:gd name="connsiteY32" fmla="*/ 133971 h 400050"/>
              <a:gd name="connsiteX33" fmla="*/ 133958 w 533400"/>
              <a:gd name="connsiteY33" fmla="*/ 95871 h 400050"/>
              <a:gd name="connsiteX34" fmla="*/ 95858 w 533400"/>
              <a:gd name="connsiteY34" fmla="*/ 57771 h 40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33400" h="400050">
                <a:moveTo>
                  <a:pt x="505433" y="621"/>
                </a:moveTo>
                <a:cubicBezTo>
                  <a:pt x="521245" y="621"/>
                  <a:pt x="534008" y="13385"/>
                  <a:pt x="534008" y="29196"/>
                </a:cubicBezTo>
                <a:lnTo>
                  <a:pt x="534008" y="372096"/>
                </a:lnTo>
                <a:cubicBezTo>
                  <a:pt x="534008" y="387907"/>
                  <a:pt x="521245" y="400671"/>
                  <a:pt x="505433" y="400671"/>
                </a:cubicBezTo>
                <a:lnTo>
                  <a:pt x="29183" y="400671"/>
                </a:lnTo>
                <a:cubicBezTo>
                  <a:pt x="13371" y="400671"/>
                  <a:pt x="608" y="387907"/>
                  <a:pt x="608" y="372096"/>
                </a:cubicBezTo>
                <a:lnTo>
                  <a:pt x="608" y="29196"/>
                </a:lnTo>
                <a:cubicBezTo>
                  <a:pt x="608" y="13385"/>
                  <a:pt x="13371" y="621"/>
                  <a:pt x="29183" y="621"/>
                </a:cubicBezTo>
                <a:lnTo>
                  <a:pt x="505433" y="621"/>
                </a:lnTo>
                <a:close/>
                <a:moveTo>
                  <a:pt x="391419" y="198646"/>
                </a:moveTo>
                <a:cubicBezTo>
                  <a:pt x="378846" y="189121"/>
                  <a:pt x="360939" y="191597"/>
                  <a:pt x="351414" y="204170"/>
                </a:cubicBezTo>
                <a:lnTo>
                  <a:pt x="351414" y="204170"/>
                </a:lnTo>
                <a:lnTo>
                  <a:pt x="267118" y="315613"/>
                </a:lnTo>
                <a:cubicBezTo>
                  <a:pt x="266355" y="316660"/>
                  <a:pt x="265498" y="317518"/>
                  <a:pt x="264641" y="318470"/>
                </a:cubicBezTo>
                <a:cubicBezTo>
                  <a:pt x="253592" y="329710"/>
                  <a:pt x="235495" y="329805"/>
                  <a:pt x="224255" y="318756"/>
                </a:cubicBezTo>
                <a:lnTo>
                  <a:pt x="224255" y="318756"/>
                </a:lnTo>
                <a:lnTo>
                  <a:pt x="162152" y="257415"/>
                </a:lnTo>
                <a:cubicBezTo>
                  <a:pt x="161485" y="256844"/>
                  <a:pt x="160914" y="256177"/>
                  <a:pt x="160247" y="255701"/>
                </a:cubicBezTo>
                <a:cubicBezTo>
                  <a:pt x="148055" y="245699"/>
                  <a:pt x="130053" y="247414"/>
                  <a:pt x="120052" y="259606"/>
                </a:cubicBezTo>
                <a:lnTo>
                  <a:pt x="120052" y="259606"/>
                </a:lnTo>
                <a:lnTo>
                  <a:pt x="32517" y="366095"/>
                </a:lnTo>
                <a:cubicBezTo>
                  <a:pt x="31088" y="367810"/>
                  <a:pt x="30326" y="369905"/>
                  <a:pt x="30326" y="372096"/>
                </a:cubicBezTo>
                <a:cubicBezTo>
                  <a:pt x="30326" y="377335"/>
                  <a:pt x="34612" y="381621"/>
                  <a:pt x="39851" y="381621"/>
                </a:cubicBezTo>
                <a:lnTo>
                  <a:pt x="39851" y="381621"/>
                </a:lnTo>
                <a:lnTo>
                  <a:pt x="497242" y="381621"/>
                </a:lnTo>
                <a:cubicBezTo>
                  <a:pt x="499146" y="381621"/>
                  <a:pt x="500956" y="381050"/>
                  <a:pt x="502480" y="380002"/>
                </a:cubicBezTo>
                <a:cubicBezTo>
                  <a:pt x="506862" y="377049"/>
                  <a:pt x="508005" y="371144"/>
                  <a:pt x="505147" y="366762"/>
                </a:cubicBezTo>
                <a:lnTo>
                  <a:pt x="505147" y="366762"/>
                </a:lnTo>
                <a:lnTo>
                  <a:pt x="397991" y="205504"/>
                </a:lnTo>
                <a:cubicBezTo>
                  <a:pt x="396181" y="202932"/>
                  <a:pt x="393990" y="200551"/>
                  <a:pt x="391419" y="198646"/>
                </a:cubicBezTo>
                <a:close/>
                <a:moveTo>
                  <a:pt x="95858" y="57771"/>
                </a:moveTo>
                <a:cubicBezTo>
                  <a:pt x="74808" y="57771"/>
                  <a:pt x="57758" y="74821"/>
                  <a:pt x="57758" y="95871"/>
                </a:cubicBezTo>
                <a:cubicBezTo>
                  <a:pt x="57758" y="116921"/>
                  <a:pt x="74808" y="133971"/>
                  <a:pt x="95858" y="133971"/>
                </a:cubicBezTo>
                <a:cubicBezTo>
                  <a:pt x="116908" y="133971"/>
                  <a:pt x="133958" y="116921"/>
                  <a:pt x="133958" y="95871"/>
                </a:cubicBezTo>
                <a:cubicBezTo>
                  <a:pt x="133958" y="74821"/>
                  <a:pt x="116908" y="57771"/>
                  <a:pt x="95858" y="57771"/>
                </a:cubicBezTo>
                <a:close/>
              </a:path>
            </a:pathLst>
          </a:custGeom>
          <a:solidFill>
            <a:schemeClr val="tx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8" name="椭圆 7">
            <a:extLst>
              <a:ext uri="{FF2B5EF4-FFF2-40B4-BE49-F238E27FC236}">
                <a16:creationId xmlns="" xmlns:a16="http://schemas.microsoft.com/office/drawing/2014/main" id="{19174CD1-C90C-4404-9DB2-ADA3FD429917}"/>
              </a:ext>
            </a:extLst>
          </p:cNvPr>
          <p:cNvSpPr/>
          <p:nvPr/>
        </p:nvSpPr>
        <p:spPr>
          <a:xfrm>
            <a:off x="6378242" y="1437241"/>
            <a:ext cx="410200" cy="410198"/>
          </a:xfrm>
          <a:prstGeom prst="ellipse">
            <a:avLst/>
          </a:prstGeom>
          <a:solidFill>
            <a:schemeClr val="bg1"/>
          </a:solidFill>
          <a:ln w="5715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3765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9" name="任意多边形 36">
            <a:extLst>
              <a:ext uri="{FF2B5EF4-FFF2-40B4-BE49-F238E27FC236}">
                <a16:creationId xmlns="" xmlns:a16="http://schemas.microsoft.com/office/drawing/2014/main" id="{CB58B75F-BD14-4A23-841A-ADF04D1E2FD1}"/>
              </a:ext>
            </a:extLst>
          </p:cNvPr>
          <p:cNvSpPr/>
          <p:nvPr/>
        </p:nvSpPr>
        <p:spPr>
          <a:xfrm>
            <a:off x="6482692" y="1532011"/>
            <a:ext cx="201300" cy="220657"/>
          </a:xfrm>
          <a:custGeom>
            <a:avLst/>
            <a:gdLst>
              <a:gd name="connsiteX0" fmla="*/ 248770 w 495300"/>
              <a:gd name="connsiteY0" fmla="*/ 621 h 542925"/>
              <a:gd name="connsiteX1" fmla="*/ 496420 w 495300"/>
              <a:gd name="connsiteY1" fmla="*/ 248271 h 542925"/>
              <a:gd name="connsiteX2" fmla="*/ 323827 w 495300"/>
              <a:gd name="connsiteY2" fmla="*/ 484396 h 542925"/>
              <a:gd name="connsiteX3" fmla="*/ 346973 w 495300"/>
              <a:gd name="connsiteY3" fmla="*/ 524496 h 542925"/>
              <a:gd name="connsiteX4" fmla="*/ 420220 w 495300"/>
              <a:gd name="connsiteY4" fmla="*/ 524496 h 542925"/>
              <a:gd name="connsiteX5" fmla="*/ 420220 w 495300"/>
              <a:gd name="connsiteY5" fmla="*/ 543546 h 542925"/>
              <a:gd name="connsiteX6" fmla="*/ 77320 w 495300"/>
              <a:gd name="connsiteY6" fmla="*/ 543546 h 542925"/>
              <a:gd name="connsiteX7" fmla="*/ 77320 w 495300"/>
              <a:gd name="connsiteY7" fmla="*/ 524496 h 542925"/>
              <a:gd name="connsiteX8" fmla="*/ 150567 w 495300"/>
              <a:gd name="connsiteY8" fmla="*/ 524496 h 542925"/>
              <a:gd name="connsiteX9" fmla="*/ 173713 w 495300"/>
              <a:gd name="connsiteY9" fmla="*/ 484396 h 542925"/>
              <a:gd name="connsiteX10" fmla="*/ 1120 w 495300"/>
              <a:gd name="connsiteY10" fmla="*/ 248271 h 542925"/>
              <a:gd name="connsiteX11" fmla="*/ 248770 w 495300"/>
              <a:gd name="connsiteY11" fmla="*/ 621 h 542925"/>
              <a:gd name="connsiteX12" fmla="*/ 192763 w 495300"/>
              <a:gd name="connsiteY12" fmla="*/ 489539 h 542925"/>
              <a:gd name="connsiteX13" fmla="*/ 172570 w 495300"/>
              <a:gd name="connsiteY13" fmla="*/ 524496 h 542925"/>
              <a:gd name="connsiteX14" fmla="*/ 324970 w 495300"/>
              <a:gd name="connsiteY14" fmla="*/ 524496 h 542925"/>
              <a:gd name="connsiteX15" fmla="*/ 304777 w 495300"/>
              <a:gd name="connsiteY15" fmla="*/ 489539 h 542925"/>
              <a:gd name="connsiteX16" fmla="*/ 248770 w 495300"/>
              <a:gd name="connsiteY16" fmla="*/ 495921 h 542925"/>
              <a:gd name="connsiteX17" fmla="*/ 192763 w 495300"/>
              <a:gd name="connsiteY17" fmla="*/ 489539 h 542925"/>
              <a:gd name="connsiteX18" fmla="*/ 248770 w 495300"/>
              <a:gd name="connsiteY18" fmla="*/ 143496 h 542925"/>
              <a:gd name="connsiteX19" fmla="*/ 143995 w 495300"/>
              <a:gd name="connsiteY19" fmla="*/ 248271 h 542925"/>
              <a:gd name="connsiteX20" fmla="*/ 248770 w 495300"/>
              <a:gd name="connsiteY20" fmla="*/ 353046 h 542925"/>
              <a:gd name="connsiteX21" fmla="*/ 353545 w 495300"/>
              <a:gd name="connsiteY21" fmla="*/ 248271 h 542925"/>
              <a:gd name="connsiteX22" fmla="*/ 248770 w 495300"/>
              <a:gd name="connsiteY22" fmla="*/ 143496 h 542925"/>
              <a:gd name="connsiteX23" fmla="*/ 367833 w 495300"/>
              <a:gd name="connsiteY23" fmla="*/ 114921 h 542925"/>
              <a:gd name="connsiteX24" fmla="*/ 353545 w 495300"/>
              <a:gd name="connsiteY24" fmla="*/ 129209 h 542925"/>
              <a:gd name="connsiteX25" fmla="*/ 367833 w 495300"/>
              <a:gd name="connsiteY25" fmla="*/ 143496 h 542925"/>
              <a:gd name="connsiteX26" fmla="*/ 382120 w 495300"/>
              <a:gd name="connsiteY26" fmla="*/ 129209 h 542925"/>
              <a:gd name="connsiteX27" fmla="*/ 367833 w 495300"/>
              <a:gd name="connsiteY27" fmla="*/ 114921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8770" y="621"/>
                </a:moveTo>
                <a:cubicBezTo>
                  <a:pt x="385549" y="621"/>
                  <a:pt x="496420" y="111492"/>
                  <a:pt x="496420" y="248271"/>
                </a:cubicBezTo>
                <a:cubicBezTo>
                  <a:pt x="496420" y="358856"/>
                  <a:pt x="423935" y="452582"/>
                  <a:pt x="323827" y="484396"/>
                </a:cubicBezTo>
                <a:lnTo>
                  <a:pt x="346973" y="524496"/>
                </a:lnTo>
                <a:lnTo>
                  <a:pt x="420220" y="524496"/>
                </a:lnTo>
                <a:lnTo>
                  <a:pt x="420220" y="543546"/>
                </a:lnTo>
                <a:lnTo>
                  <a:pt x="77320" y="543546"/>
                </a:lnTo>
                <a:lnTo>
                  <a:pt x="77320" y="524496"/>
                </a:lnTo>
                <a:lnTo>
                  <a:pt x="150567" y="524496"/>
                </a:lnTo>
                <a:lnTo>
                  <a:pt x="173713" y="484396"/>
                </a:lnTo>
                <a:cubicBezTo>
                  <a:pt x="73605" y="452582"/>
                  <a:pt x="1120" y="358856"/>
                  <a:pt x="1120" y="248271"/>
                </a:cubicBezTo>
                <a:cubicBezTo>
                  <a:pt x="1120" y="111492"/>
                  <a:pt x="111991" y="621"/>
                  <a:pt x="248770" y="621"/>
                </a:cubicBezTo>
                <a:close/>
                <a:moveTo>
                  <a:pt x="192763" y="489539"/>
                </a:moveTo>
                <a:lnTo>
                  <a:pt x="172570" y="524496"/>
                </a:lnTo>
                <a:lnTo>
                  <a:pt x="324970" y="524496"/>
                </a:lnTo>
                <a:lnTo>
                  <a:pt x="304777" y="489539"/>
                </a:lnTo>
                <a:cubicBezTo>
                  <a:pt x="286775" y="493730"/>
                  <a:pt x="268010" y="495921"/>
                  <a:pt x="248770" y="495921"/>
                </a:cubicBezTo>
                <a:cubicBezTo>
                  <a:pt x="229530" y="495921"/>
                  <a:pt x="210765" y="493730"/>
                  <a:pt x="192763" y="489539"/>
                </a:cubicBezTo>
                <a:close/>
                <a:moveTo>
                  <a:pt x="248770" y="143496"/>
                </a:moveTo>
                <a:cubicBezTo>
                  <a:pt x="190858" y="143496"/>
                  <a:pt x="143995" y="190359"/>
                  <a:pt x="143995" y="248271"/>
                </a:cubicBezTo>
                <a:cubicBezTo>
                  <a:pt x="143995" y="306183"/>
                  <a:pt x="190858" y="353046"/>
                  <a:pt x="248770" y="353046"/>
                </a:cubicBezTo>
                <a:cubicBezTo>
                  <a:pt x="306682" y="353046"/>
                  <a:pt x="353545" y="306183"/>
                  <a:pt x="353545" y="248271"/>
                </a:cubicBezTo>
                <a:cubicBezTo>
                  <a:pt x="353545" y="190359"/>
                  <a:pt x="306682" y="143496"/>
                  <a:pt x="248770" y="143496"/>
                </a:cubicBezTo>
                <a:close/>
                <a:moveTo>
                  <a:pt x="367833" y="114921"/>
                </a:moveTo>
                <a:cubicBezTo>
                  <a:pt x="359927" y="114921"/>
                  <a:pt x="353545" y="121303"/>
                  <a:pt x="353545" y="129209"/>
                </a:cubicBezTo>
                <a:cubicBezTo>
                  <a:pt x="353545" y="137114"/>
                  <a:pt x="359927" y="143496"/>
                  <a:pt x="367833" y="143496"/>
                </a:cubicBezTo>
                <a:cubicBezTo>
                  <a:pt x="375738" y="143496"/>
                  <a:pt x="382120" y="137114"/>
                  <a:pt x="382120" y="129209"/>
                </a:cubicBezTo>
                <a:cubicBezTo>
                  <a:pt x="382120" y="121303"/>
                  <a:pt x="375738" y="114921"/>
                  <a:pt x="367833" y="114921"/>
                </a:cubicBezTo>
                <a:close/>
              </a:path>
            </a:pathLst>
          </a:custGeom>
          <a:solidFill>
            <a:schemeClr val="bg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4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20" name="表格占位符 4"/>
          <p:cNvPicPr>
            <a:picLocks noGrp="1" noChangeAspect="1"/>
          </p:cNvPicPr>
          <p:nvPr>
            <p:ph type="tbl" sz="quarter" idx="10"/>
          </p:nvPr>
        </p:nvPicPr>
        <p:blipFill>
          <a:blip r:embed="rId2"/>
          <a:stretch>
            <a:fillRect/>
          </a:stretch>
        </p:blipFill>
        <p:spPr>
          <a:xfrm>
            <a:off x="1061425" y="3425019"/>
            <a:ext cx="4474797" cy="250962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3342" y="3425019"/>
            <a:ext cx="4456782" cy="249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3223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矩形 20">
            <a:extLst>
              <a:ext uri="{FF2B5EF4-FFF2-40B4-BE49-F238E27FC236}">
                <a16:creationId xmlns="" xmlns:a16="http://schemas.microsoft.com/office/drawing/2014/main" id="{5460AED6-8869-437F-924A-5746093BE729}"/>
              </a:ext>
            </a:extLst>
          </p:cNvPr>
          <p:cNvSpPr/>
          <p:nvPr/>
        </p:nvSpPr>
        <p:spPr>
          <a:xfrm>
            <a:off x="587375" y="5261755"/>
            <a:ext cx="2873277" cy="9319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kumimoji="1" lang="zh-CN" altLang="en-US" sz="8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Forensics</a:t>
            </a:r>
            <a:endParaRPr lang="en-US" altLang="zh-CN" dirty="0"/>
          </a:p>
        </p:txBody>
      </p:sp>
      <p:sp>
        <p:nvSpPr>
          <p:cNvPr id="16" name="íşliḑe"/>
          <p:cNvSpPr/>
          <p:nvPr/>
        </p:nvSpPr>
        <p:spPr>
          <a:xfrm>
            <a:off x="3580305" y="4041938"/>
            <a:ext cx="657355" cy="206106"/>
          </a:xfrm>
          <a:prstGeom prst="rightArrow">
            <a:avLst>
              <a:gd name="adj1" fmla="val 43013"/>
              <a:gd name="adj2" fmla="val 63973"/>
            </a:avLst>
          </a:prstGeom>
          <a:gradFill flip="none" rotWithShape="1">
            <a:gsLst>
              <a:gs pos="0">
                <a:schemeClr val="accent4">
                  <a:lumMod val="20000"/>
                  <a:lumOff val="80000"/>
                  <a:alpha val="0"/>
                </a:schemeClr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思源黑体 CN Regular" panose="020B0500000000000000" pitchFamily="34" charset="-122"/>
              <a:ea typeface="思源黑体 CN Regular" panose="020B0500000000000000" pitchFamily="34" charset="-122"/>
              <a:cs typeface="思源宋体 CN Medium" panose="02020500000000000000" charset="-122"/>
            </a:endParaRPr>
          </a:p>
        </p:txBody>
      </p:sp>
      <p:sp>
        <p:nvSpPr>
          <p:cNvPr id="19" name="íşliḑe"/>
          <p:cNvSpPr/>
          <p:nvPr/>
        </p:nvSpPr>
        <p:spPr>
          <a:xfrm>
            <a:off x="7861335" y="4041938"/>
            <a:ext cx="657355" cy="206106"/>
          </a:xfrm>
          <a:prstGeom prst="rightArrow">
            <a:avLst>
              <a:gd name="adj1" fmla="val 43013"/>
              <a:gd name="adj2" fmla="val 63973"/>
            </a:avLst>
          </a:prstGeom>
          <a:gradFill flip="none" rotWithShape="1">
            <a:gsLst>
              <a:gs pos="0">
                <a:schemeClr val="accent4">
                  <a:lumMod val="20000"/>
                  <a:lumOff val="80000"/>
                  <a:alpha val="0"/>
                </a:schemeClr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思源黑体 CN Regular" panose="020B0500000000000000" pitchFamily="34" charset="-122"/>
              <a:ea typeface="思源黑体 CN Regular" panose="020B0500000000000000" pitchFamily="34" charset="-122"/>
              <a:cs typeface="思源宋体 CN Medium" panose="02020500000000000000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555594" y="5318020"/>
            <a:ext cx="2905057" cy="8194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</a:t>
            </a: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arch via IP/domain names/URL/file </a:t>
            </a:r>
            <a:r>
              <a:rPr lang="en-US" altLang="zh-CN" sz="1050" dirty="0" err="1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MD5</a:t>
            </a:r>
            <a:endParaRPr lang="en-US" altLang="zh-CN" sz="1050" dirty="0" smtClean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Record recent search </a:t>
            </a: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history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Quick entry from all pages</a:t>
            </a:r>
            <a:endParaRPr lang="zh-CN" alt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54">
            <a:extLst>
              <a:ext uri="{FF2B5EF4-FFF2-40B4-BE49-F238E27FC236}">
                <a16:creationId xmlns="" xmlns:a16="http://schemas.microsoft.com/office/drawing/2014/main" id="{8763A386-2060-4B0B-8CDB-7334F5595C97}"/>
              </a:ext>
            </a:extLst>
          </p:cNvPr>
          <p:cNvSpPr/>
          <p:nvPr/>
        </p:nvSpPr>
        <p:spPr>
          <a:xfrm>
            <a:off x="-3698" y="1180673"/>
            <a:ext cx="12192000" cy="711805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5" name="TextBox 55">
            <a:extLst>
              <a:ext uri="{FF2B5EF4-FFF2-40B4-BE49-F238E27FC236}">
                <a16:creationId xmlns="" xmlns:a16="http://schemas.microsoft.com/office/drawing/2014/main" id="{E7F8EC99-94CC-4C27-93C3-997252A92154}"/>
              </a:ext>
            </a:extLst>
          </p:cNvPr>
          <p:cNvSpPr txBox="1"/>
          <p:nvPr/>
        </p:nvSpPr>
        <p:spPr>
          <a:xfrm>
            <a:off x="1108868" y="1351909"/>
            <a:ext cx="1798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Search</a:t>
            </a:r>
            <a:endParaRPr lang="x-non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375" y="2011753"/>
            <a:ext cx="2873276" cy="1316955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sp>
        <p:nvSpPr>
          <p:cNvPr id="11" name="文本框 10"/>
          <p:cNvSpPr txBox="1"/>
          <p:nvPr/>
        </p:nvSpPr>
        <p:spPr>
          <a:xfrm>
            <a:off x="457200" y="3308596"/>
            <a:ext cx="11887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2C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entry </a:t>
            </a:r>
            <a:endParaRPr lang="zh-CN" altLang="en-US" sz="1200" b="1" dirty="0">
              <a:solidFill>
                <a:srgbClr val="002C73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457200" y="4958745"/>
            <a:ext cx="10256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>
                <a:solidFill>
                  <a:srgbClr val="002C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r>
              <a:rPr lang="en-US" altLang="zh-CN" sz="1200" b="1" dirty="0" smtClean="0">
                <a:solidFill>
                  <a:srgbClr val="002C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ick entry</a:t>
            </a:r>
            <a:endParaRPr lang="zh-CN" altLang="en-US" sz="1200" b="1" dirty="0">
              <a:solidFill>
                <a:srgbClr val="002C73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590962" y="3631718"/>
            <a:ext cx="2898661" cy="1350175"/>
            <a:chOff x="590962" y="3631718"/>
            <a:chExt cx="2898661" cy="1350175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0962" y="3631718"/>
              <a:ext cx="2869689" cy="1327027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9" name="矩形 8"/>
            <p:cNvSpPr/>
            <p:nvPr/>
          </p:nvSpPr>
          <p:spPr>
            <a:xfrm>
              <a:off x="2843537" y="4540557"/>
              <a:ext cx="646086" cy="441336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9832" y="2031691"/>
            <a:ext cx="3273105" cy="2113300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sp>
        <p:nvSpPr>
          <p:cNvPr id="35" name="文本框 34"/>
          <p:cNvSpPr txBox="1"/>
          <p:nvPr/>
        </p:nvSpPr>
        <p:spPr>
          <a:xfrm>
            <a:off x="4366646" y="4145704"/>
            <a:ext cx="10830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2C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 display</a:t>
            </a:r>
            <a:endParaRPr lang="zh-CN" altLang="en-US" sz="1200" b="1" dirty="0">
              <a:solidFill>
                <a:srgbClr val="002C73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6" name="矩形 20">
            <a:extLst>
              <a:ext uri="{FF2B5EF4-FFF2-40B4-BE49-F238E27FC236}">
                <a16:creationId xmlns="" xmlns:a16="http://schemas.microsoft.com/office/drawing/2014/main" id="{5460AED6-8869-437F-924A-5746093BE729}"/>
              </a:ext>
            </a:extLst>
          </p:cNvPr>
          <p:cNvSpPr/>
          <p:nvPr/>
        </p:nvSpPr>
        <p:spPr>
          <a:xfrm>
            <a:off x="4499831" y="4536537"/>
            <a:ext cx="3273105" cy="16572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kumimoji="1" lang="zh-CN" altLang="en-US" sz="8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4562360" y="4621184"/>
            <a:ext cx="3059884" cy="15465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Forensics overview, 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including </a:t>
            </a: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relevant threat family 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information, threat/vulnerability </a:t>
            </a: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trends, kill-chain stage 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tc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Correlate threat events, vulnerability events, traffic monitoring and hotspot intelligence to achieve </a:t>
            </a: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one-step global search.</a:t>
            </a:r>
            <a:endParaRPr lang="zh-CN" altLang="en-US" sz="1050" dirty="0" smtClean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7" name="矩形 20">
            <a:extLst>
              <a:ext uri="{FF2B5EF4-FFF2-40B4-BE49-F238E27FC236}">
                <a16:creationId xmlns="" xmlns:a16="http://schemas.microsoft.com/office/drawing/2014/main" id="{5460AED6-8869-437F-924A-5746093BE729}"/>
              </a:ext>
            </a:extLst>
          </p:cNvPr>
          <p:cNvSpPr/>
          <p:nvPr/>
        </p:nvSpPr>
        <p:spPr>
          <a:xfrm>
            <a:off x="8651875" y="4923354"/>
            <a:ext cx="2952750" cy="12444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kumimoji="1" lang="zh-CN" altLang="en-US" sz="8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 rotWithShape="1">
          <a:blip r:embed="rId6"/>
          <a:srcRect b="8435"/>
          <a:stretch/>
        </p:blipFill>
        <p:spPr>
          <a:xfrm>
            <a:off x="8651875" y="2031691"/>
            <a:ext cx="2974593" cy="1290243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sp>
        <p:nvSpPr>
          <p:cNvPr id="39" name="文本框 38"/>
          <p:cNvSpPr txBox="1"/>
          <p:nvPr/>
        </p:nvSpPr>
        <p:spPr>
          <a:xfrm>
            <a:off x="8530554" y="3321548"/>
            <a:ext cx="17925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2C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e Information</a:t>
            </a:r>
            <a:endParaRPr lang="zh-CN" altLang="en-US" sz="1200" b="1" dirty="0">
              <a:solidFill>
                <a:srgbClr val="002C73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51876" y="3688312"/>
            <a:ext cx="2952750" cy="836699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sp>
        <p:nvSpPr>
          <p:cNvPr id="40" name="文本框 39"/>
          <p:cNvSpPr txBox="1"/>
          <p:nvPr/>
        </p:nvSpPr>
        <p:spPr>
          <a:xfrm>
            <a:off x="8468995" y="4507887"/>
            <a:ext cx="17350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2C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Response</a:t>
            </a:r>
            <a:endParaRPr lang="zh-CN" altLang="en-US" sz="1200" b="1" dirty="0">
              <a:solidFill>
                <a:srgbClr val="002C73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8693690" y="4947979"/>
            <a:ext cx="2850292" cy="10618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upport viewing/decoding /exporting/ saving 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vent evidence </a:t>
            </a: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information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upport marking threats as false positives, adding to whitelists, etc.</a:t>
            </a:r>
            <a:endParaRPr lang="en-US" altLang="zh-CN" sz="105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6" name="TextBox 55">
            <a:extLst>
              <a:ext uri="{FF2B5EF4-FFF2-40B4-BE49-F238E27FC236}">
                <a16:creationId xmlns="" xmlns:a16="http://schemas.microsoft.com/office/drawing/2014/main" id="{E7F8EC99-94CC-4C27-93C3-997252A92154}"/>
              </a:ext>
            </a:extLst>
          </p:cNvPr>
          <p:cNvSpPr txBox="1"/>
          <p:nvPr/>
        </p:nvSpPr>
        <p:spPr>
          <a:xfrm>
            <a:off x="5237128" y="1354639"/>
            <a:ext cx="1798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 Display</a:t>
            </a:r>
            <a:endParaRPr lang="x-non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55">
            <a:extLst>
              <a:ext uri="{FF2B5EF4-FFF2-40B4-BE49-F238E27FC236}">
                <a16:creationId xmlns="" xmlns:a16="http://schemas.microsoft.com/office/drawing/2014/main" id="{E7F8EC99-94CC-4C27-93C3-997252A92154}"/>
              </a:ext>
            </a:extLst>
          </p:cNvPr>
          <p:cNvSpPr txBox="1"/>
          <p:nvPr/>
        </p:nvSpPr>
        <p:spPr>
          <a:xfrm>
            <a:off x="8936481" y="1347772"/>
            <a:ext cx="23647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Response</a:t>
            </a:r>
            <a:endParaRPr lang="x-non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75092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sym typeface=""/>
              </a:rPr>
              <a:t>Vulnerability Analysis</a:t>
            </a:r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88D1B05A-B507-44A3-970F-ED4C437F14E1}"/>
              </a:ext>
            </a:extLst>
          </p:cNvPr>
          <p:cNvSpPr/>
          <p:nvPr/>
        </p:nvSpPr>
        <p:spPr>
          <a:xfrm>
            <a:off x="587375" y="4357030"/>
            <a:ext cx="3882158" cy="4030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4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canner Management</a:t>
            </a:r>
          </a:p>
        </p:txBody>
      </p:sp>
      <p:sp>
        <p:nvSpPr>
          <p:cNvPr id="48" name="矩形 14">
            <a:extLst>
              <a:ext uri="{FF2B5EF4-FFF2-40B4-BE49-F238E27FC236}">
                <a16:creationId xmlns="" xmlns:a16="http://schemas.microsoft.com/office/drawing/2014/main" id="{BAC379BC-1792-4293-B3B2-6745190F159C}"/>
              </a:ext>
            </a:extLst>
          </p:cNvPr>
          <p:cNvSpPr/>
          <p:nvPr/>
        </p:nvSpPr>
        <p:spPr>
          <a:xfrm>
            <a:off x="587375" y="4882029"/>
            <a:ext cx="3887788" cy="1261884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built-in scanner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Nessus scanner to generate reports automatically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Periodical scanning task configuration (daily, weekly, monthly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manually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mpor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Nessus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report (.</a:t>
            </a:r>
            <a:r>
              <a:rPr lang="en-US" altLang="zh-CN" sz="1200" dirty="0" err="1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nessus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files)</a:t>
            </a:r>
            <a:endParaRPr lang="en-US" altLang="zh-CN" sz="1200" strike="sngStrike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r="18580"/>
          <a:stretch/>
        </p:blipFill>
        <p:spPr>
          <a:xfrm>
            <a:off x="4703395" y="4357030"/>
            <a:ext cx="6901155" cy="16275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</p:pic>
      <p:sp>
        <p:nvSpPr>
          <p:cNvPr id="19" name="Rectangle 35">
            <a:extLst>
              <a:ext uri="{FF2B5EF4-FFF2-40B4-BE49-F238E27FC236}">
                <a16:creationId xmlns:a16="http://schemas.microsoft.com/office/drawing/2014/main" xmlns="" id="{1923465D-0EA6-4102-9CE1-BFEB78E51422}"/>
              </a:ext>
            </a:extLst>
          </p:cNvPr>
          <p:cNvSpPr/>
          <p:nvPr/>
        </p:nvSpPr>
        <p:spPr>
          <a:xfrm>
            <a:off x="593005" y="1308735"/>
            <a:ext cx="3882158" cy="4030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SzPct val="25000"/>
            </a:pPr>
            <a:r>
              <a:rPr lang="en-US" altLang="zh-CN" sz="1400" b="1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Vulnerability </a:t>
            </a:r>
            <a:r>
              <a:rPr lang="en-US" altLang="zh-CN" sz="14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Visualization</a:t>
            </a:r>
          </a:p>
        </p:txBody>
      </p:sp>
      <p:sp>
        <p:nvSpPr>
          <p:cNvPr id="23" name="矩形 12">
            <a:extLst>
              <a:ext uri="{FF2B5EF4-FFF2-40B4-BE49-F238E27FC236}">
                <a16:creationId xmlns:a16="http://schemas.microsoft.com/office/drawing/2014/main" xmlns="" id="{1C1D3BBD-40FC-4E53-81A7-82344F1ABEE3}"/>
              </a:ext>
            </a:extLst>
          </p:cNvPr>
          <p:cNvSpPr/>
          <p:nvPr/>
        </p:nvSpPr>
        <p:spPr>
          <a:xfrm>
            <a:off x="593005" y="1788283"/>
            <a:ext cx="3778970" cy="1600438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Display </a:t>
            </a:r>
            <a:r>
              <a:rPr lang="x-none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tatistical and detail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ed</a:t>
            </a:r>
            <a:r>
              <a:rPr lang="x-none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information about the vulnerabilities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filtering by: host IP, report name, scan </a:t>
            </a:r>
            <a:r>
              <a:rPr lang="en-US" altLang="zh-CN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ime</a:t>
            </a:r>
            <a:r>
              <a:rPr lang="zh-CN" altLang="en-US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，</a:t>
            </a:r>
            <a:r>
              <a:rPr lang="en-US" altLang="zh-CN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otal</a:t>
            </a:r>
            <a:r>
              <a:rPr lang="zh-CN" altLang="en-US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vulnerabilities/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vulnerability name/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ype/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level</a:t>
            </a:r>
            <a:r>
              <a:rPr lang="zh-CN" altLang="en-US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，</a:t>
            </a:r>
            <a:r>
              <a:rPr lang="en-US" altLang="zh-CN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nd protocol</a:t>
            </a:r>
            <a:r>
              <a:rPr lang="zh-CN" altLang="en-US" sz="12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auto scanning and manual import of  vulnerability reports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4714875" y="1308737"/>
            <a:ext cx="6889675" cy="2756270"/>
            <a:chOff x="4714875" y="1308737"/>
            <a:chExt cx="6889675" cy="2756270"/>
          </a:xfrm>
        </p:grpSpPr>
        <p:grpSp>
          <p:nvGrpSpPr>
            <p:cNvPr id="20" name="Group 4">
              <a:extLst>
                <a:ext uri="{FF2B5EF4-FFF2-40B4-BE49-F238E27FC236}">
                  <a16:creationId xmlns:a16="http://schemas.microsoft.com/office/drawing/2014/main" xmlns="" id="{08D06F63-4DBA-49E2-8B2F-2BA311561F9E}"/>
                </a:ext>
              </a:extLst>
            </p:cNvPr>
            <p:cNvGrpSpPr/>
            <p:nvPr/>
          </p:nvGrpSpPr>
          <p:grpSpPr>
            <a:xfrm>
              <a:off x="4714875" y="1308737"/>
              <a:ext cx="6889675" cy="2756270"/>
              <a:chOff x="4475163" y="1400176"/>
              <a:chExt cx="7129387" cy="3030131"/>
            </a:xfrm>
          </p:grpSpPr>
          <p:sp>
            <p:nvSpPr>
              <p:cNvPr id="21" name="Rectangle 32">
                <a:extLst>
                  <a:ext uri="{FF2B5EF4-FFF2-40B4-BE49-F238E27FC236}">
                    <a16:creationId xmlns:a16="http://schemas.microsoft.com/office/drawing/2014/main" xmlns="" id="{BC2606DA-4F75-469C-98A1-862035A7FBB9}"/>
                  </a:ext>
                </a:extLst>
              </p:cNvPr>
              <p:cNvSpPr/>
              <p:nvPr/>
            </p:nvSpPr>
            <p:spPr>
              <a:xfrm>
                <a:off x="4475163" y="1400176"/>
                <a:ext cx="7129387" cy="30301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71500" dist="38100" dir="2700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ID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2" name="Picture 36">
                <a:extLst>
                  <a:ext uri="{FF2B5EF4-FFF2-40B4-BE49-F238E27FC236}">
                    <a16:creationId xmlns:a16="http://schemas.microsoft.com/office/drawing/2014/main" xmlns="" id="{FD0FC301-492A-4BA8-B2C6-53212B8A353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b="8391"/>
              <a:stretch/>
            </p:blipFill>
            <p:spPr>
              <a:xfrm>
                <a:off x="4728369" y="1555027"/>
                <a:ext cx="6622975" cy="2716030"/>
              </a:xfrm>
              <a:prstGeom prst="rect">
                <a:avLst/>
              </a:prstGeom>
            </p:spPr>
          </p:pic>
        </p:grpSp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59567" y="1422554"/>
              <a:ext cx="1326439" cy="2499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64123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F0234746-EDE8-417C-BB25-4EF805A7A06C}"/>
              </a:ext>
            </a:extLst>
          </p:cNvPr>
          <p:cNvSpPr/>
          <p:nvPr/>
        </p:nvSpPr>
        <p:spPr>
          <a:xfrm>
            <a:off x="7086600" y="1222249"/>
            <a:ext cx="4518025" cy="49783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"/>
                <a:sym typeface=""/>
              </a:rPr>
              <a:t>Automated Security Orchestration</a:t>
            </a:r>
            <a:endParaRPr 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3EC38F36-0801-4F49-8C1C-9710F2DCA4B3}"/>
              </a:ext>
            </a:extLst>
          </p:cNvPr>
          <p:cNvGrpSpPr/>
          <p:nvPr/>
        </p:nvGrpSpPr>
        <p:grpSpPr>
          <a:xfrm>
            <a:off x="858965" y="1623185"/>
            <a:ext cx="6591915" cy="4176526"/>
            <a:chOff x="203565" y="1350328"/>
            <a:chExt cx="7025488" cy="4451231"/>
          </a:xfrm>
        </p:grpSpPr>
        <p:pic>
          <p:nvPicPr>
            <p:cNvPr id="30" name="Picture 29">
              <a:extLst>
                <a:ext uri="{FF2B5EF4-FFF2-40B4-BE49-F238E27FC236}">
                  <a16:creationId xmlns="" xmlns:a16="http://schemas.microsoft.com/office/drawing/2014/main" id="{B5AF1F40-F30E-4728-84C7-FEFD5446B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50583" y="3766958"/>
              <a:ext cx="2162481" cy="1062913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="" xmlns:a16="http://schemas.microsoft.com/office/drawing/2014/main" id="{C87354E8-CE59-464F-8ADC-5399EDB780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32889"/>
            <a:stretch/>
          </p:blipFill>
          <p:spPr>
            <a:xfrm>
              <a:off x="282233" y="1350328"/>
              <a:ext cx="1536700" cy="443198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="" xmlns:a16="http://schemas.microsoft.com/office/drawing/2014/main" id="{5AB21469-8C2F-458F-A42E-646C19D5168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94574" y="1880937"/>
              <a:ext cx="3355755" cy="1749582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="" xmlns:a16="http://schemas.microsoft.com/office/drawing/2014/main" id="{892E8BC6-5F24-4919-82F0-A9CB2CC9D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41059" y="3820743"/>
              <a:ext cx="1664913" cy="985002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="" xmlns:a16="http://schemas.microsoft.com/office/drawing/2014/main" id="{C2218400-C296-4BCF-BC3C-7EFCF527BC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3565" y="5076398"/>
              <a:ext cx="7025488" cy="725161"/>
            </a:xfrm>
            <a:prstGeom prst="rect">
              <a:avLst/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509DE182-1CDA-45C7-A81C-75635BE6F50C}"/>
              </a:ext>
            </a:extLst>
          </p:cNvPr>
          <p:cNvSpPr txBox="1"/>
          <p:nvPr/>
        </p:nvSpPr>
        <p:spPr>
          <a:xfrm>
            <a:off x="8336774" y="2331196"/>
            <a:ext cx="2921612" cy="36625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Playbook/template-based automation</a:t>
            </a:r>
          </a:p>
          <a:p>
            <a:pPr marL="182880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Playbook defines the threat event triggering condition, threat intelligence query, conditions to response and actions of response.  </a:t>
            </a:r>
          </a:p>
          <a:p>
            <a:pPr marL="182880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Drag and drop to edit the playbook</a:t>
            </a:r>
          </a:p>
          <a:p>
            <a:pPr marL="182880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Predefined playbook templates:</a:t>
            </a:r>
          </a:p>
          <a:p>
            <a:pPr marL="365760" lvl="1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Crypto mining</a:t>
            </a:r>
          </a:p>
          <a:p>
            <a:pPr marL="365760" lvl="1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Ransomware</a:t>
            </a:r>
          </a:p>
          <a:p>
            <a:pPr marL="365760" lvl="1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Brute force</a:t>
            </a:r>
          </a:p>
          <a:p>
            <a:pPr marL="365760" lvl="1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Weak passwor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32762BC-94FC-4510-96E2-14C8A62D4F6E}"/>
              </a:ext>
            </a:extLst>
          </p:cNvPr>
          <p:cNvSpPr/>
          <p:nvPr/>
        </p:nvSpPr>
        <p:spPr>
          <a:xfrm>
            <a:off x="8118434" y="1514414"/>
            <a:ext cx="3233779" cy="5333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0" bIns="0" rtlCol="0" anchor="ctr"/>
          <a:lstStyle/>
          <a:p>
            <a:r>
              <a: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utomated Orchestration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5516CB75-7C1A-4EEA-8C6B-B61E53F9B2EA}"/>
              </a:ext>
            </a:extLst>
          </p:cNvPr>
          <p:cNvSpPr/>
          <p:nvPr/>
        </p:nvSpPr>
        <p:spPr>
          <a:xfrm>
            <a:off x="7369278" y="1460652"/>
            <a:ext cx="660396" cy="6603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任意多边形 65">
            <a:extLst>
              <a:ext uri="{FF2B5EF4-FFF2-40B4-BE49-F238E27FC236}">
                <a16:creationId xmlns="" xmlns:a16="http://schemas.microsoft.com/office/drawing/2014/main" id="{CFA148E9-56F3-4598-A203-D44E2D109C5B}"/>
              </a:ext>
            </a:extLst>
          </p:cNvPr>
          <p:cNvSpPr/>
          <p:nvPr/>
        </p:nvSpPr>
        <p:spPr>
          <a:xfrm>
            <a:off x="7510006" y="1620941"/>
            <a:ext cx="378941" cy="339818"/>
          </a:xfrm>
          <a:custGeom>
            <a:avLst/>
            <a:gdLst>
              <a:gd name="connsiteX0" fmla="*/ 343764 w 533400"/>
              <a:gd name="connsiteY0" fmla="*/ 276846 h 523875"/>
              <a:gd name="connsiteX1" fmla="*/ 372339 w 533400"/>
              <a:gd name="connsiteY1" fmla="*/ 305421 h 523875"/>
              <a:gd name="connsiteX2" fmla="*/ 372339 w 533400"/>
              <a:gd name="connsiteY2" fmla="*/ 495921 h 523875"/>
              <a:gd name="connsiteX3" fmla="*/ 343764 w 533400"/>
              <a:gd name="connsiteY3" fmla="*/ 524496 h 523875"/>
              <a:gd name="connsiteX4" fmla="*/ 191364 w 533400"/>
              <a:gd name="connsiteY4" fmla="*/ 524496 h 523875"/>
              <a:gd name="connsiteX5" fmla="*/ 162789 w 533400"/>
              <a:gd name="connsiteY5" fmla="*/ 495921 h 523875"/>
              <a:gd name="connsiteX6" fmla="*/ 162789 w 533400"/>
              <a:gd name="connsiteY6" fmla="*/ 305421 h 523875"/>
              <a:gd name="connsiteX7" fmla="*/ 191364 w 533400"/>
              <a:gd name="connsiteY7" fmla="*/ 276846 h 523875"/>
              <a:gd name="connsiteX8" fmla="*/ 343764 w 533400"/>
              <a:gd name="connsiteY8" fmla="*/ 276846 h 523875"/>
              <a:gd name="connsiteX9" fmla="*/ 143739 w 533400"/>
              <a:gd name="connsiteY9" fmla="*/ 114921 h 523875"/>
              <a:gd name="connsiteX10" fmla="*/ 179934 w 533400"/>
              <a:gd name="connsiteY10" fmla="*/ 153021 h 523875"/>
              <a:gd name="connsiteX11" fmla="*/ 181839 w 533400"/>
              <a:gd name="connsiteY11" fmla="*/ 153021 h 523875"/>
              <a:gd name="connsiteX12" fmla="*/ 353289 w 533400"/>
              <a:gd name="connsiteY12" fmla="*/ 153021 h 523875"/>
              <a:gd name="connsiteX13" fmla="*/ 391389 w 533400"/>
              <a:gd name="connsiteY13" fmla="*/ 116826 h 523875"/>
              <a:gd name="connsiteX14" fmla="*/ 391389 w 533400"/>
              <a:gd name="connsiteY14" fmla="*/ 114921 h 523875"/>
              <a:gd name="connsiteX15" fmla="*/ 505689 w 533400"/>
              <a:gd name="connsiteY15" fmla="*/ 114921 h 523875"/>
              <a:gd name="connsiteX16" fmla="*/ 534264 w 533400"/>
              <a:gd name="connsiteY16" fmla="*/ 143496 h 523875"/>
              <a:gd name="connsiteX17" fmla="*/ 534264 w 533400"/>
              <a:gd name="connsiteY17" fmla="*/ 381621 h 523875"/>
              <a:gd name="connsiteX18" fmla="*/ 505689 w 533400"/>
              <a:gd name="connsiteY18" fmla="*/ 410196 h 523875"/>
              <a:gd name="connsiteX19" fmla="*/ 391389 w 533400"/>
              <a:gd name="connsiteY19" fmla="*/ 410196 h 523875"/>
              <a:gd name="connsiteX20" fmla="*/ 391389 w 533400"/>
              <a:gd name="connsiteY20" fmla="*/ 295896 h 523875"/>
              <a:gd name="connsiteX21" fmla="*/ 355194 w 533400"/>
              <a:gd name="connsiteY21" fmla="*/ 257796 h 523875"/>
              <a:gd name="connsiteX22" fmla="*/ 353289 w 533400"/>
              <a:gd name="connsiteY22" fmla="*/ 257796 h 523875"/>
              <a:gd name="connsiteX23" fmla="*/ 181839 w 533400"/>
              <a:gd name="connsiteY23" fmla="*/ 257796 h 523875"/>
              <a:gd name="connsiteX24" fmla="*/ 143739 w 533400"/>
              <a:gd name="connsiteY24" fmla="*/ 293991 h 523875"/>
              <a:gd name="connsiteX25" fmla="*/ 143739 w 533400"/>
              <a:gd name="connsiteY25" fmla="*/ 295896 h 523875"/>
              <a:gd name="connsiteX26" fmla="*/ 143739 w 533400"/>
              <a:gd name="connsiteY26" fmla="*/ 410196 h 523875"/>
              <a:gd name="connsiteX27" fmla="*/ 29439 w 533400"/>
              <a:gd name="connsiteY27" fmla="*/ 410196 h 523875"/>
              <a:gd name="connsiteX28" fmla="*/ 864 w 533400"/>
              <a:gd name="connsiteY28" fmla="*/ 381621 h 523875"/>
              <a:gd name="connsiteX29" fmla="*/ 864 w 533400"/>
              <a:gd name="connsiteY29" fmla="*/ 201408 h 523875"/>
              <a:gd name="connsiteX30" fmla="*/ 11151 w 533400"/>
              <a:gd name="connsiteY30" fmla="*/ 175405 h 523875"/>
              <a:gd name="connsiteX31" fmla="*/ 56300 w 533400"/>
              <a:gd name="connsiteY31" fmla="*/ 127018 h 523875"/>
              <a:gd name="connsiteX32" fmla="*/ 84112 w 533400"/>
              <a:gd name="connsiteY32" fmla="*/ 114921 h 523875"/>
              <a:gd name="connsiteX33" fmla="*/ 143739 w 533400"/>
              <a:gd name="connsiteY33" fmla="*/ 114921 h 523875"/>
              <a:gd name="connsiteX34" fmla="*/ 462827 w 533400"/>
              <a:gd name="connsiteY34" fmla="*/ 172071 h 523875"/>
              <a:gd name="connsiteX35" fmla="*/ 448539 w 533400"/>
              <a:gd name="connsiteY35" fmla="*/ 186359 h 523875"/>
              <a:gd name="connsiteX36" fmla="*/ 462827 w 533400"/>
              <a:gd name="connsiteY36" fmla="*/ 200646 h 523875"/>
              <a:gd name="connsiteX37" fmla="*/ 477114 w 533400"/>
              <a:gd name="connsiteY37" fmla="*/ 186359 h 523875"/>
              <a:gd name="connsiteX38" fmla="*/ 462827 w 533400"/>
              <a:gd name="connsiteY38" fmla="*/ 172071 h 523875"/>
              <a:gd name="connsiteX39" fmla="*/ 343764 w 533400"/>
              <a:gd name="connsiteY39" fmla="*/ 621 h 523875"/>
              <a:gd name="connsiteX40" fmla="*/ 372339 w 533400"/>
              <a:gd name="connsiteY40" fmla="*/ 29196 h 523875"/>
              <a:gd name="connsiteX41" fmla="*/ 372339 w 533400"/>
              <a:gd name="connsiteY41" fmla="*/ 105396 h 523875"/>
              <a:gd name="connsiteX42" fmla="*/ 343764 w 533400"/>
              <a:gd name="connsiteY42" fmla="*/ 133971 h 523875"/>
              <a:gd name="connsiteX43" fmla="*/ 191364 w 533400"/>
              <a:gd name="connsiteY43" fmla="*/ 133971 h 523875"/>
              <a:gd name="connsiteX44" fmla="*/ 162789 w 533400"/>
              <a:gd name="connsiteY44" fmla="*/ 105396 h 523875"/>
              <a:gd name="connsiteX45" fmla="*/ 162789 w 533400"/>
              <a:gd name="connsiteY45" fmla="*/ 29196 h 523875"/>
              <a:gd name="connsiteX46" fmla="*/ 191364 w 533400"/>
              <a:gd name="connsiteY46" fmla="*/ 621 h 523875"/>
              <a:gd name="connsiteX47" fmla="*/ 343764 w 533400"/>
              <a:gd name="connsiteY47" fmla="*/ 621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3764" y="276846"/>
                </a:moveTo>
                <a:cubicBezTo>
                  <a:pt x="359576" y="276846"/>
                  <a:pt x="372339" y="289610"/>
                  <a:pt x="372339" y="305421"/>
                </a:cubicBezTo>
                <a:lnTo>
                  <a:pt x="372339" y="495921"/>
                </a:lnTo>
                <a:cubicBezTo>
                  <a:pt x="372339" y="511732"/>
                  <a:pt x="359576" y="524496"/>
                  <a:pt x="343764" y="524496"/>
                </a:cubicBezTo>
                <a:lnTo>
                  <a:pt x="191364" y="524496"/>
                </a:lnTo>
                <a:cubicBezTo>
                  <a:pt x="175552" y="524496"/>
                  <a:pt x="162789" y="511732"/>
                  <a:pt x="162789" y="495921"/>
                </a:cubicBezTo>
                <a:lnTo>
                  <a:pt x="162789" y="305421"/>
                </a:lnTo>
                <a:cubicBezTo>
                  <a:pt x="162789" y="289610"/>
                  <a:pt x="175552" y="276846"/>
                  <a:pt x="191364" y="276846"/>
                </a:cubicBezTo>
                <a:lnTo>
                  <a:pt x="343764" y="276846"/>
                </a:lnTo>
                <a:close/>
                <a:moveTo>
                  <a:pt x="143739" y="114921"/>
                </a:moveTo>
                <a:cubicBezTo>
                  <a:pt x="143739" y="135305"/>
                  <a:pt x="159741" y="151973"/>
                  <a:pt x="179934" y="153021"/>
                </a:cubicBezTo>
                <a:lnTo>
                  <a:pt x="181839" y="153021"/>
                </a:lnTo>
                <a:lnTo>
                  <a:pt x="353289" y="153021"/>
                </a:lnTo>
                <a:cubicBezTo>
                  <a:pt x="373673" y="153021"/>
                  <a:pt x="390341" y="137019"/>
                  <a:pt x="391389" y="116826"/>
                </a:cubicBezTo>
                <a:lnTo>
                  <a:pt x="391389" y="114921"/>
                </a:lnTo>
                <a:lnTo>
                  <a:pt x="505689" y="114921"/>
                </a:lnTo>
                <a:cubicBezTo>
                  <a:pt x="521501" y="114921"/>
                  <a:pt x="534264" y="127685"/>
                  <a:pt x="534264" y="143496"/>
                </a:cubicBezTo>
                <a:lnTo>
                  <a:pt x="534264" y="381621"/>
                </a:lnTo>
                <a:cubicBezTo>
                  <a:pt x="534264" y="397432"/>
                  <a:pt x="521501" y="410196"/>
                  <a:pt x="505689" y="410196"/>
                </a:cubicBezTo>
                <a:lnTo>
                  <a:pt x="391389" y="410196"/>
                </a:lnTo>
                <a:lnTo>
                  <a:pt x="391389" y="295896"/>
                </a:lnTo>
                <a:cubicBezTo>
                  <a:pt x="391389" y="275512"/>
                  <a:pt x="375387" y="258844"/>
                  <a:pt x="355194" y="257796"/>
                </a:cubicBezTo>
                <a:lnTo>
                  <a:pt x="353289" y="257796"/>
                </a:lnTo>
                <a:lnTo>
                  <a:pt x="181839" y="257796"/>
                </a:lnTo>
                <a:cubicBezTo>
                  <a:pt x="161455" y="257796"/>
                  <a:pt x="144787" y="273798"/>
                  <a:pt x="143739" y="293991"/>
                </a:cubicBezTo>
                <a:lnTo>
                  <a:pt x="143739" y="295896"/>
                </a:lnTo>
                <a:lnTo>
                  <a:pt x="143739" y="410196"/>
                </a:lnTo>
                <a:lnTo>
                  <a:pt x="29439" y="410196"/>
                </a:lnTo>
                <a:cubicBezTo>
                  <a:pt x="13627" y="410196"/>
                  <a:pt x="864" y="397432"/>
                  <a:pt x="864" y="381621"/>
                </a:cubicBezTo>
                <a:lnTo>
                  <a:pt x="864" y="201408"/>
                </a:lnTo>
                <a:cubicBezTo>
                  <a:pt x="864" y="191788"/>
                  <a:pt x="4484" y="182454"/>
                  <a:pt x="11151" y="175405"/>
                </a:cubicBezTo>
                <a:lnTo>
                  <a:pt x="56300" y="127018"/>
                </a:lnTo>
                <a:cubicBezTo>
                  <a:pt x="63538" y="119303"/>
                  <a:pt x="73635" y="114921"/>
                  <a:pt x="84112" y="114921"/>
                </a:cubicBezTo>
                <a:lnTo>
                  <a:pt x="143739" y="114921"/>
                </a:lnTo>
                <a:close/>
                <a:moveTo>
                  <a:pt x="462827" y="172071"/>
                </a:moveTo>
                <a:cubicBezTo>
                  <a:pt x="454921" y="172071"/>
                  <a:pt x="448539" y="178453"/>
                  <a:pt x="448539" y="186359"/>
                </a:cubicBezTo>
                <a:cubicBezTo>
                  <a:pt x="448539" y="194264"/>
                  <a:pt x="454921" y="200646"/>
                  <a:pt x="462827" y="200646"/>
                </a:cubicBezTo>
                <a:cubicBezTo>
                  <a:pt x="470732" y="200646"/>
                  <a:pt x="477114" y="194264"/>
                  <a:pt x="477114" y="186359"/>
                </a:cubicBezTo>
                <a:cubicBezTo>
                  <a:pt x="477114" y="178453"/>
                  <a:pt x="470732" y="172071"/>
                  <a:pt x="462827" y="172071"/>
                </a:cubicBezTo>
                <a:close/>
                <a:moveTo>
                  <a:pt x="343764" y="621"/>
                </a:moveTo>
                <a:cubicBezTo>
                  <a:pt x="359576" y="621"/>
                  <a:pt x="372339" y="13385"/>
                  <a:pt x="372339" y="29196"/>
                </a:cubicBezTo>
                <a:lnTo>
                  <a:pt x="372339" y="105396"/>
                </a:lnTo>
                <a:cubicBezTo>
                  <a:pt x="372339" y="121207"/>
                  <a:pt x="359576" y="133971"/>
                  <a:pt x="343764" y="133971"/>
                </a:cubicBezTo>
                <a:lnTo>
                  <a:pt x="191364" y="133971"/>
                </a:lnTo>
                <a:cubicBezTo>
                  <a:pt x="175552" y="133971"/>
                  <a:pt x="162789" y="121207"/>
                  <a:pt x="162789" y="105396"/>
                </a:cubicBezTo>
                <a:lnTo>
                  <a:pt x="162789" y="29196"/>
                </a:lnTo>
                <a:cubicBezTo>
                  <a:pt x="162789" y="13385"/>
                  <a:pt x="175552" y="621"/>
                  <a:pt x="191364" y="621"/>
                </a:cubicBezTo>
                <a:lnTo>
                  <a:pt x="343764" y="621"/>
                </a:lnTo>
                <a:close/>
              </a:path>
            </a:pathLst>
          </a:custGeom>
          <a:solidFill>
            <a:srgbClr val="FFFFFF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AAB53B1-003F-4E23-B087-245B5AFFDE64}"/>
              </a:ext>
            </a:extLst>
          </p:cNvPr>
          <p:cNvCxnSpPr>
            <a:cxnSpLocks/>
          </p:cNvCxnSpPr>
          <p:nvPr/>
        </p:nvCxnSpPr>
        <p:spPr>
          <a:xfrm>
            <a:off x="7716838" y="2121048"/>
            <a:ext cx="0" cy="407960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0932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F0234746-EDE8-417C-BB25-4EF805A7A06C}"/>
              </a:ext>
            </a:extLst>
          </p:cNvPr>
          <p:cNvSpPr/>
          <p:nvPr/>
        </p:nvSpPr>
        <p:spPr>
          <a:xfrm>
            <a:off x="7086600" y="1210057"/>
            <a:ext cx="4518025" cy="49783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"/>
              </a:rPr>
              <a:t>Threat Responses – Integrated Devices</a:t>
            </a:r>
            <a:endParaRPr 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509DE182-1CDA-45C7-A81C-75635BE6F50C}"/>
              </a:ext>
            </a:extLst>
          </p:cNvPr>
          <p:cNvSpPr txBox="1"/>
          <p:nvPr/>
        </p:nvSpPr>
        <p:spPr>
          <a:xfrm>
            <a:off x="8336774" y="2319004"/>
            <a:ext cx="2865154" cy="35086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Register integrated </a:t>
            </a: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product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Interact with intellgence center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Perform actions as a response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with integrated products by: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deploying polices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b</a:t>
            </a: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locking addresse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Action </a:t>
            </a:r>
            <a:r>
              <a:rPr lang="x-none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defined </a:t>
            </a:r>
            <a:r>
              <a:rPr lang="en-US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via</a:t>
            </a:r>
            <a:r>
              <a:rPr lang="x-none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template </a:t>
            </a:r>
            <a:r>
              <a:rPr lang="x-none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or via </a:t>
            </a:r>
            <a:r>
              <a:rPr lang="en-US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manual</a:t>
            </a:r>
            <a:r>
              <a:rPr lang="x-none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configuration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upport 3rd party security devices over RESTful APIs or SSH </a:t>
            </a:r>
            <a:r>
              <a:rPr lang="x-none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to </a:t>
            </a:r>
            <a:r>
              <a:rPr lang="en-US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mitigate </a:t>
            </a:r>
            <a:r>
              <a:rPr lang="x-none" sz="14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vendor lock-in</a:t>
            </a:r>
            <a:r>
              <a:rPr lang="en-US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inconveniences</a:t>
            </a:r>
            <a:endParaRPr lang="x-none" sz="14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32762BC-94FC-4510-96E2-14C8A62D4F6E}"/>
              </a:ext>
            </a:extLst>
          </p:cNvPr>
          <p:cNvSpPr/>
          <p:nvPr/>
        </p:nvSpPr>
        <p:spPr>
          <a:xfrm>
            <a:off x="8118434" y="1502222"/>
            <a:ext cx="3233779" cy="5333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0" bIns="0" rtlCol="0" anchor="ctr"/>
          <a:lstStyle/>
          <a:p>
            <a:pPr algn="ctr"/>
            <a:r>
              <a: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ntegrated Devic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B7999C96-B376-499D-89AC-3EE9CEF4E407}"/>
              </a:ext>
            </a:extLst>
          </p:cNvPr>
          <p:cNvSpPr/>
          <p:nvPr/>
        </p:nvSpPr>
        <p:spPr>
          <a:xfrm>
            <a:off x="593005" y="1210057"/>
            <a:ext cx="7123834" cy="49783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AAB53B1-003F-4E23-B087-245B5AFFDE64}"/>
              </a:ext>
            </a:extLst>
          </p:cNvPr>
          <p:cNvCxnSpPr>
            <a:cxnSpLocks/>
          </p:cNvCxnSpPr>
          <p:nvPr/>
        </p:nvCxnSpPr>
        <p:spPr>
          <a:xfrm>
            <a:off x="7716838" y="2108856"/>
            <a:ext cx="0" cy="4079600"/>
          </a:xfrm>
          <a:prstGeom prst="line">
            <a:avLst/>
          </a:prstGeom>
          <a:ln w="19050">
            <a:solidFill>
              <a:srgbClr val="002C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EEBC7AF1-3324-45EF-91BD-392F578355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313" y="1542333"/>
            <a:ext cx="2163478" cy="600967"/>
          </a:xfrm>
          <a:prstGeom prst="rect">
            <a:avLst/>
          </a:prstGeom>
        </p:spPr>
      </p:pic>
      <p:pic>
        <p:nvPicPr>
          <p:cNvPr id="17" name="Picture 8" descr="VirusTotal">
            <a:extLst>
              <a:ext uri="{FF2B5EF4-FFF2-40B4-BE49-F238E27FC236}">
                <a16:creationId xmlns="" xmlns:a16="http://schemas.microsoft.com/office/drawing/2014/main" id="{9FB8E7BF-6976-45D3-891E-EEF0E48C57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723" y="2338843"/>
            <a:ext cx="1751941" cy="353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图片 5">
            <a:extLst>
              <a:ext uri="{FF2B5EF4-FFF2-40B4-BE49-F238E27FC236}">
                <a16:creationId xmlns="" xmlns:a16="http://schemas.microsoft.com/office/drawing/2014/main" id="{0FC465D8-18E5-4464-9AD5-32F1723186B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541" y="3355687"/>
            <a:ext cx="591830" cy="615074"/>
          </a:xfrm>
          <a:prstGeom prst="rect">
            <a:avLst/>
          </a:prstGeom>
        </p:spPr>
      </p:pic>
      <p:sp>
        <p:nvSpPr>
          <p:cNvPr id="21" name="矩形 18">
            <a:extLst>
              <a:ext uri="{FF2B5EF4-FFF2-40B4-BE49-F238E27FC236}">
                <a16:creationId xmlns="" xmlns:a16="http://schemas.microsoft.com/office/drawing/2014/main" id="{85E746F3-F4D4-4A3E-8212-81E6AD9E0E2F}"/>
              </a:ext>
            </a:extLst>
          </p:cNvPr>
          <p:cNvSpPr/>
          <p:nvPr/>
        </p:nvSpPr>
        <p:spPr>
          <a:xfrm>
            <a:off x="5968398" y="4031492"/>
            <a:ext cx="56938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vWAF</a:t>
            </a:r>
            <a:endParaRPr lang="zh-CN" altLang="en-US" sz="1100" dirty="0"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24" name="图片 9">
            <a:extLst>
              <a:ext uri="{FF2B5EF4-FFF2-40B4-BE49-F238E27FC236}">
                <a16:creationId xmlns="" xmlns:a16="http://schemas.microsoft.com/office/drawing/2014/main" id="{15AF3FA9-F35B-45BC-B936-E90EB6E9B1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885" y="4825569"/>
            <a:ext cx="869028" cy="571250"/>
          </a:xfrm>
          <a:prstGeom prst="rect">
            <a:avLst/>
          </a:prstGeom>
        </p:spPr>
      </p:pic>
      <p:sp>
        <p:nvSpPr>
          <p:cNvPr id="25" name="矩形 22">
            <a:extLst>
              <a:ext uri="{FF2B5EF4-FFF2-40B4-BE49-F238E27FC236}">
                <a16:creationId xmlns="" xmlns:a16="http://schemas.microsoft.com/office/drawing/2014/main" id="{87FA010B-02B0-4920-BC63-94D28C8233FD}"/>
              </a:ext>
            </a:extLst>
          </p:cNvPr>
          <p:cNvSpPr/>
          <p:nvPr/>
        </p:nvSpPr>
        <p:spPr>
          <a:xfrm>
            <a:off x="3834054" y="5479462"/>
            <a:ext cx="8386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x-none" altLang="zh-CN" sz="11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CloudHive</a:t>
            </a:r>
            <a:endParaRPr lang="zh-CN" altLang="en-US" sz="1100" dirty="0"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27" name="图片 10">
            <a:extLst>
              <a:ext uri="{FF2B5EF4-FFF2-40B4-BE49-F238E27FC236}">
                <a16:creationId xmlns="" xmlns:a16="http://schemas.microsoft.com/office/drawing/2014/main" id="{0EBC2B47-CC06-4633-AF55-E7F1F1A036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496" y="4825569"/>
            <a:ext cx="871910" cy="571250"/>
          </a:xfrm>
          <a:prstGeom prst="rect">
            <a:avLst/>
          </a:prstGeom>
        </p:spPr>
      </p:pic>
      <p:sp>
        <p:nvSpPr>
          <p:cNvPr id="28" name="矩形 23">
            <a:extLst>
              <a:ext uri="{FF2B5EF4-FFF2-40B4-BE49-F238E27FC236}">
                <a16:creationId xmlns="" xmlns:a16="http://schemas.microsoft.com/office/drawing/2014/main" id="{57922C0D-C649-4EE5-A046-22A7A2439C97}"/>
              </a:ext>
            </a:extLst>
          </p:cNvPr>
          <p:cNvSpPr/>
          <p:nvPr/>
        </p:nvSpPr>
        <p:spPr>
          <a:xfrm>
            <a:off x="1559937" y="5479462"/>
            <a:ext cx="8851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x-none" altLang="zh-CN" sz="11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CloudEdge</a:t>
            </a:r>
            <a:endParaRPr lang="zh-CN" altLang="en-US" sz="1100" dirty="0"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36" name="图片 13">
            <a:extLst>
              <a:ext uri="{FF2B5EF4-FFF2-40B4-BE49-F238E27FC236}">
                <a16:creationId xmlns="" xmlns:a16="http://schemas.microsoft.com/office/drawing/2014/main" id="{A1B27CFE-7BF9-493D-A991-846A1AE077C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0277" y="2319004"/>
            <a:ext cx="1111204" cy="450542"/>
          </a:xfrm>
          <a:prstGeom prst="rect">
            <a:avLst/>
          </a:prstGeom>
        </p:spPr>
      </p:pic>
      <p:sp>
        <p:nvSpPr>
          <p:cNvPr id="38" name="矩形 19">
            <a:extLst>
              <a:ext uri="{FF2B5EF4-FFF2-40B4-BE49-F238E27FC236}">
                <a16:creationId xmlns="" xmlns:a16="http://schemas.microsoft.com/office/drawing/2014/main" id="{968DBA2D-1205-4884-B525-E108CCA62431}"/>
              </a:ext>
            </a:extLst>
          </p:cNvPr>
          <p:cNvSpPr/>
          <p:nvPr/>
        </p:nvSpPr>
        <p:spPr>
          <a:xfrm>
            <a:off x="6006967" y="2879329"/>
            <a:ext cx="431208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altLang="zh-CN" sz="11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NGFW</a:t>
            </a:r>
            <a:endParaRPr lang="zh-CN" altLang="en-US" sz="1100" dirty="0"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40" name="矩形 28">
            <a:extLst>
              <a:ext uri="{FF2B5EF4-FFF2-40B4-BE49-F238E27FC236}">
                <a16:creationId xmlns="" xmlns:a16="http://schemas.microsoft.com/office/drawing/2014/main" id="{F9FAFF14-BF6F-4B87-A67D-F0B06950F1A3}"/>
              </a:ext>
            </a:extLst>
          </p:cNvPr>
          <p:cNvSpPr/>
          <p:nvPr/>
        </p:nvSpPr>
        <p:spPr>
          <a:xfrm>
            <a:off x="3372079" y="4106858"/>
            <a:ext cx="166293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1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NIPS</a:t>
            </a:r>
            <a:endParaRPr lang="zh-CN" altLang="en-US" sz="1100" dirty="0"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41" name="图片 27">
            <a:extLst>
              <a:ext uri="{FF2B5EF4-FFF2-40B4-BE49-F238E27FC236}">
                <a16:creationId xmlns="" xmlns:a16="http://schemas.microsoft.com/office/drawing/2014/main" id="{E9AABD75-5E7E-48B2-BE5F-956BBE41BD3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7646" y="3520217"/>
            <a:ext cx="1181431" cy="450544"/>
          </a:xfrm>
          <a:prstGeom prst="rect">
            <a:avLst/>
          </a:prstGeom>
        </p:spPr>
      </p:pic>
      <p:pic>
        <p:nvPicPr>
          <p:cNvPr id="44" name="图片 4">
            <a:extLst>
              <a:ext uri="{FF2B5EF4-FFF2-40B4-BE49-F238E27FC236}">
                <a16:creationId xmlns="" xmlns:a16="http://schemas.microsoft.com/office/drawing/2014/main" id="{2AACC64B-3810-495D-80A5-24270BDE6FE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974" y="3550145"/>
            <a:ext cx="1109588" cy="390688"/>
          </a:xfrm>
          <a:prstGeom prst="rect">
            <a:avLst/>
          </a:prstGeom>
        </p:spPr>
      </p:pic>
      <p:sp>
        <p:nvSpPr>
          <p:cNvPr id="45" name="矩形 31">
            <a:extLst>
              <a:ext uri="{FF2B5EF4-FFF2-40B4-BE49-F238E27FC236}">
                <a16:creationId xmlns="" xmlns:a16="http://schemas.microsoft.com/office/drawing/2014/main" id="{5E8AE9C6-4764-4616-94FC-EF78D44DF41E}"/>
              </a:ext>
            </a:extLst>
          </p:cNvPr>
          <p:cNvSpPr/>
          <p:nvPr/>
        </p:nvSpPr>
        <p:spPr>
          <a:xfrm>
            <a:off x="1640106" y="4106858"/>
            <a:ext cx="943324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1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ADC</a:t>
            </a:r>
            <a:endParaRPr lang="zh-CN" altLang="en-US" sz="1100" dirty="0"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47" name="图片 6">
            <a:extLst>
              <a:ext uri="{FF2B5EF4-FFF2-40B4-BE49-F238E27FC236}">
                <a16:creationId xmlns="" xmlns:a16="http://schemas.microsoft.com/office/drawing/2014/main" id="{35D73B23-C8B6-42F7-B7BC-525D0F57A32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474" y="2338023"/>
            <a:ext cx="1109588" cy="433298"/>
          </a:xfrm>
          <a:prstGeom prst="rect">
            <a:avLst/>
          </a:prstGeom>
        </p:spPr>
      </p:pic>
      <p:sp>
        <p:nvSpPr>
          <p:cNvPr id="48" name="矩形 16">
            <a:extLst>
              <a:ext uri="{FF2B5EF4-FFF2-40B4-BE49-F238E27FC236}">
                <a16:creationId xmlns="" xmlns:a16="http://schemas.microsoft.com/office/drawing/2014/main" id="{202AA797-6E53-4035-A09D-9C03332B9EAA}"/>
              </a:ext>
            </a:extLst>
          </p:cNvPr>
          <p:cNvSpPr/>
          <p:nvPr/>
        </p:nvSpPr>
        <p:spPr>
          <a:xfrm>
            <a:off x="3940930" y="2806541"/>
            <a:ext cx="4988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HSM</a:t>
            </a:r>
            <a:endParaRPr lang="zh-CN" altLang="en-US" sz="1100" dirty="0"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29" name="Graphic 51">
            <a:extLst>
              <a:ext uri="{FF2B5EF4-FFF2-40B4-BE49-F238E27FC236}">
                <a16:creationId xmlns="" xmlns:a16="http://schemas.microsoft.com/office/drawing/2014/main" id="{AD9DEE06-EF7A-694D-9853-9A5F20C66C4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6317" y="4693065"/>
            <a:ext cx="957586" cy="957586"/>
          </a:xfrm>
          <a:prstGeom prst="rect">
            <a:avLst/>
          </a:prstGeom>
        </p:spPr>
      </p:pic>
      <p:sp>
        <p:nvSpPr>
          <p:cNvPr id="31" name="矩形 22">
            <a:extLst>
              <a:ext uri="{FF2B5EF4-FFF2-40B4-BE49-F238E27FC236}">
                <a16:creationId xmlns="" xmlns:a16="http://schemas.microsoft.com/office/drawing/2014/main" id="{87FA010B-02B0-4920-BC63-94D28C8233FD}"/>
              </a:ext>
            </a:extLst>
          </p:cNvPr>
          <p:cNvSpPr/>
          <p:nvPr/>
        </p:nvSpPr>
        <p:spPr>
          <a:xfrm>
            <a:off x="5604649" y="5458913"/>
            <a:ext cx="125707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3rd </a:t>
            </a:r>
            <a:r>
              <a:rPr lang="en-US" altLang="zh-CN" sz="1100" smtClean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party devices</a:t>
            </a:r>
            <a:endParaRPr lang="zh-CN" altLang="en-US" sz="1100" dirty="0"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5516CB75-7C1A-4EEA-8C6B-B61E53F9B2EA}"/>
              </a:ext>
            </a:extLst>
          </p:cNvPr>
          <p:cNvSpPr/>
          <p:nvPr/>
        </p:nvSpPr>
        <p:spPr>
          <a:xfrm>
            <a:off x="7386640" y="1448460"/>
            <a:ext cx="660396" cy="660396"/>
          </a:xfrm>
          <a:prstGeom prst="ellipse">
            <a:avLst/>
          </a:prstGeom>
          <a:solidFill>
            <a:srgbClr val="002C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任意多边形 68">
            <a:extLst>
              <a:ext uri="{FF2B5EF4-FFF2-40B4-BE49-F238E27FC236}">
                <a16:creationId xmlns="" xmlns:a16="http://schemas.microsoft.com/office/drawing/2014/main" id="{F4D776E3-B9B3-4E8D-B5CA-ABB87592F67D}"/>
              </a:ext>
            </a:extLst>
          </p:cNvPr>
          <p:cNvSpPr/>
          <p:nvPr/>
        </p:nvSpPr>
        <p:spPr>
          <a:xfrm>
            <a:off x="7544020" y="1660490"/>
            <a:ext cx="310913" cy="236337"/>
          </a:xfrm>
          <a:custGeom>
            <a:avLst/>
            <a:gdLst>
              <a:gd name="connsiteX0" fmla="*/ 483573 w 526297"/>
              <a:gd name="connsiteY0" fmla="*/ 133971 h 438150"/>
              <a:gd name="connsiteX1" fmla="*/ 527674 w 526297"/>
              <a:gd name="connsiteY1" fmla="*/ 178072 h 438150"/>
              <a:gd name="connsiteX2" fmla="*/ 527579 w 526297"/>
              <a:gd name="connsiteY2" fmla="*/ 181501 h 438150"/>
              <a:gd name="connsiteX3" fmla="*/ 514244 w 526297"/>
              <a:gd name="connsiteY3" fmla="*/ 355237 h 438150"/>
              <a:gd name="connsiteX4" fmla="*/ 485764 w 526297"/>
              <a:gd name="connsiteY4" fmla="*/ 381621 h 438150"/>
              <a:gd name="connsiteX5" fmla="*/ 454998 w 526297"/>
              <a:gd name="connsiteY5" fmla="*/ 381621 h 438150"/>
              <a:gd name="connsiteX6" fmla="*/ 454998 w 526297"/>
              <a:gd name="connsiteY6" fmla="*/ 438771 h 438150"/>
              <a:gd name="connsiteX7" fmla="*/ 435948 w 526297"/>
              <a:gd name="connsiteY7" fmla="*/ 438771 h 438150"/>
              <a:gd name="connsiteX8" fmla="*/ 435948 w 526297"/>
              <a:gd name="connsiteY8" fmla="*/ 381621 h 438150"/>
              <a:gd name="connsiteX9" fmla="*/ 93048 w 526297"/>
              <a:gd name="connsiteY9" fmla="*/ 381621 h 438150"/>
              <a:gd name="connsiteX10" fmla="*/ 93048 w 526297"/>
              <a:gd name="connsiteY10" fmla="*/ 438771 h 438150"/>
              <a:gd name="connsiteX11" fmla="*/ 73998 w 526297"/>
              <a:gd name="connsiteY11" fmla="*/ 438771 h 438150"/>
              <a:gd name="connsiteX12" fmla="*/ 73998 w 526297"/>
              <a:gd name="connsiteY12" fmla="*/ 381621 h 438150"/>
              <a:gd name="connsiteX13" fmla="*/ 43328 w 526297"/>
              <a:gd name="connsiteY13" fmla="*/ 381621 h 438150"/>
              <a:gd name="connsiteX14" fmla="*/ 14848 w 526297"/>
              <a:gd name="connsiteY14" fmla="*/ 355237 h 438150"/>
              <a:gd name="connsiteX15" fmla="*/ 1513 w 526297"/>
              <a:gd name="connsiteY15" fmla="*/ 181501 h 438150"/>
              <a:gd name="connsiteX16" fmla="*/ 42089 w 526297"/>
              <a:gd name="connsiteY16" fmla="*/ 134162 h 438150"/>
              <a:gd name="connsiteX17" fmla="*/ 45518 w 526297"/>
              <a:gd name="connsiteY17" fmla="*/ 134066 h 438150"/>
              <a:gd name="connsiteX18" fmla="*/ 101906 w 526297"/>
              <a:gd name="connsiteY18" fmla="*/ 180834 h 438150"/>
              <a:gd name="connsiteX19" fmla="*/ 121623 w 526297"/>
              <a:gd name="connsiteY19" fmla="*/ 286371 h 438150"/>
              <a:gd name="connsiteX20" fmla="*/ 407373 w 526297"/>
              <a:gd name="connsiteY20" fmla="*/ 286371 h 438150"/>
              <a:gd name="connsiteX21" fmla="*/ 427185 w 526297"/>
              <a:gd name="connsiteY21" fmla="*/ 180739 h 438150"/>
              <a:gd name="connsiteX22" fmla="*/ 483573 w 526297"/>
              <a:gd name="connsiteY22" fmla="*/ 133971 h 438150"/>
              <a:gd name="connsiteX23" fmla="*/ 416898 w 526297"/>
              <a:gd name="connsiteY23" fmla="*/ 621 h 438150"/>
              <a:gd name="connsiteX24" fmla="*/ 483573 w 526297"/>
              <a:gd name="connsiteY24" fmla="*/ 67296 h 438150"/>
              <a:gd name="connsiteX25" fmla="*/ 483573 w 526297"/>
              <a:gd name="connsiteY25" fmla="*/ 115397 h 438150"/>
              <a:gd name="connsiteX26" fmla="*/ 476429 w 526297"/>
              <a:gd name="connsiteY26" fmla="*/ 114921 h 438150"/>
              <a:gd name="connsiteX27" fmla="*/ 412040 w 526297"/>
              <a:gd name="connsiteY27" fmla="*/ 166451 h 438150"/>
              <a:gd name="connsiteX28" fmla="*/ 411564 w 526297"/>
              <a:gd name="connsiteY28" fmla="*/ 168737 h 438150"/>
              <a:gd name="connsiteX29" fmla="*/ 393086 w 526297"/>
              <a:gd name="connsiteY29" fmla="*/ 267321 h 438150"/>
              <a:gd name="connsiteX30" fmla="*/ 135911 w 526297"/>
              <a:gd name="connsiteY30" fmla="*/ 267321 h 438150"/>
              <a:gd name="connsiteX31" fmla="*/ 117432 w 526297"/>
              <a:gd name="connsiteY31" fmla="*/ 168737 h 438150"/>
              <a:gd name="connsiteX32" fmla="*/ 52567 w 526297"/>
              <a:gd name="connsiteY32" fmla="*/ 114921 h 438150"/>
              <a:gd name="connsiteX33" fmla="*/ 54948 w 526297"/>
              <a:gd name="connsiteY33" fmla="*/ 67296 h 438150"/>
              <a:gd name="connsiteX34" fmla="*/ 121623 w 526297"/>
              <a:gd name="connsiteY34" fmla="*/ 621 h 438150"/>
              <a:gd name="connsiteX35" fmla="*/ 416898 w 526297"/>
              <a:gd name="connsiteY35" fmla="*/ 621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3573" y="133971"/>
                </a:moveTo>
                <a:cubicBezTo>
                  <a:pt x="507957" y="133971"/>
                  <a:pt x="527674" y="153688"/>
                  <a:pt x="527674" y="178072"/>
                </a:cubicBezTo>
                <a:cubicBezTo>
                  <a:pt x="527674" y="179215"/>
                  <a:pt x="527674" y="180358"/>
                  <a:pt x="527579" y="181501"/>
                </a:cubicBezTo>
                <a:lnTo>
                  <a:pt x="514244" y="355237"/>
                </a:lnTo>
                <a:cubicBezTo>
                  <a:pt x="513101" y="370096"/>
                  <a:pt x="500718" y="381621"/>
                  <a:pt x="485764" y="381621"/>
                </a:cubicBezTo>
                <a:lnTo>
                  <a:pt x="454998" y="381621"/>
                </a:lnTo>
                <a:lnTo>
                  <a:pt x="454998" y="438771"/>
                </a:lnTo>
                <a:lnTo>
                  <a:pt x="435948" y="438771"/>
                </a:lnTo>
                <a:lnTo>
                  <a:pt x="435948" y="381621"/>
                </a:lnTo>
                <a:lnTo>
                  <a:pt x="93048" y="381621"/>
                </a:lnTo>
                <a:lnTo>
                  <a:pt x="93048" y="438771"/>
                </a:lnTo>
                <a:lnTo>
                  <a:pt x="73998" y="438771"/>
                </a:lnTo>
                <a:lnTo>
                  <a:pt x="73998" y="381621"/>
                </a:lnTo>
                <a:lnTo>
                  <a:pt x="43328" y="381621"/>
                </a:lnTo>
                <a:cubicBezTo>
                  <a:pt x="28373" y="381621"/>
                  <a:pt x="15991" y="370096"/>
                  <a:pt x="14848" y="355237"/>
                </a:cubicBezTo>
                <a:lnTo>
                  <a:pt x="1513" y="181501"/>
                </a:lnTo>
                <a:cubicBezTo>
                  <a:pt x="-392" y="157212"/>
                  <a:pt x="17801" y="135971"/>
                  <a:pt x="42089" y="134162"/>
                </a:cubicBezTo>
                <a:cubicBezTo>
                  <a:pt x="43232" y="134066"/>
                  <a:pt x="44375" y="134066"/>
                  <a:pt x="45518" y="134066"/>
                </a:cubicBezTo>
                <a:cubicBezTo>
                  <a:pt x="73141" y="134066"/>
                  <a:pt x="96858" y="153688"/>
                  <a:pt x="101906" y="180834"/>
                </a:cubicBezTo>
                <a:lnTo>
                  <a:pt x="121623" y="286371"/>
                </a:lnTo>
                <a:lnTo>
                  <a:pt x="407373" y="286371"/>
                </a:lnTo>
                <a:lnTo>
                  <a:pt x="427185" y="180739"/>
                </a:lnTo>
                <a:cubicBezTo>
                  <a:pt x="432233" y="153592"/>
                  <a:pt x="455951" y="133971"/>
                  <a:pt x="483573" y="133971"/>
                </a:cubicBezTo>
                <a:close/>
                <a:moveTo>
                  <a:pt x="416898" y="621"/>
                </a:moveTo>
                <a:cubicBezTo>
                  <a:pt x="453760" y="621"/>
                  <a:pt x="483573" y="30434"/>
                  <a:pt x="483573" y="67296"/>
                </a:cubicBezTo>
                <a:lnTo>
                  <a:pt x="483573" y="115397"/>
                </a:lnTo>
                <a:cubicBezTo>
                  <a:pt x="481192" y="115112"/>
                  <a:pt x="478811" y="114921"/>
                  <a:pt x="476429" y="114921"/>
                </a:cubicBezTo>
                <a:cubicBezTo>
                  <a:pt x="445473" y="114921"/>
                  <a:pt x="418803" y="136448"/>
                  <a:pt x="412040" y="166451"/>
                </a:cubicBezTo>
                <a:lnTo>
                  <a:pt x="411564" y="168737"/>
                </a:lnTo>
                <a:lnTo>
                  <a:pt x="393086" y="267321"/>
                </a:lnTo>
                <a:lnTo>
                  <a:pt x="135911" y="267321"/>
                </a:lnTo>
                <a:lnTo>
                  <a:pt x="117432" y="168737"/>
                </a:lnTo>
                <a:cubicBezTo>
                  <a:pt x="111622" y="137495"/>
                  <a:pt x="84285" y="114921"/>
                  <a:pt x="52567" y="114921"/>
                </a:cubicBezTo>
                <a:lnTo>
                  <a:pt x="54948" y="67296"/>
                </a:lnTo>
                <a:cubicBezTo>
                  <a:pt x="54948" y="30434"/>
                  <a:pt x="84761" y="621"/>
                  <a:pt x="121623" y="621"/>
                </a:cubicBezTo>
                <a:lnTo>
                  <a:pt x="416898" y="621"/>
                </a:lnTo>
                <a:close/>
              </a:path>
            </a:pathLst>
          </a:custGeom>
          <a:solidFill>
            <a:srgbClr val="FFFFFF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42711336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F0234746-EDE8-417C-BB25-4EF805A7A06C}"/>
              </a:ext>
            </a:extLst>
          </p:cNvPr>
          <p:cNvSpPr/>
          <p:nvPr/>
        </p:nvSpPr>
        <p:spPr>
          <a:xfrm>
            <a:off x="7183691" y="1191769"/>
            <a:ext cx="4518025" cy="49783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"/>
                <a:sym typeface=""/>
              </a:rPr>
              <a:t>Threat Responses – Case Management</a:t>
            </a:r>
            <a:endParaRPr 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509DE182-1CDA-45C7-A81C-75635BE6F50C}"/>
              </a:ext>
            </a:extLst>
          </p:cNvPr>
          <p:cNvSpPr txBox="1"/>
          <p:nvPr/>
        </p:nvSpPr>
        <p:spPr>
          <a:xfrm>
            <a:off x="8336774" y="2300716"/>
            <a:ext cx="2865154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Assign tasks to follow up </a:t>
            </a:r>
          </a:p>
          <a:p>
            <a:pPr marL="182880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</a:t>
            </a: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tatus updates</a:t>
            </a:r>
          </a:p>
          <a:p>
            <a:pPr marL="182880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R</a:t>
            </a:r>
            <a:r>
              <a:rPr lang="x-none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commended solu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32762BC-94FC-4510-96E2-14C8A62D4F6E}"/>
              </a:ext>
            </a:extLst>
          </p:cNvPr>
          <p:cNvSpPr/>
          <p:nvPr/>
        </p:nvSpPr>
        <p:spPr>
          <a:xfrm>
            <a:off x="8118434" y="1483934"/>
            <a:ext cx="3233779" cy="5333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0" bIns="0" rtlCol="0" anchor="ctr"/>
          <a:lstStyle/>
          <a:p>
            <a:r>
              <a:rPr lang="en-US" altLang="zh-CN" sz="1600" b="1" dirty="0">
                <a:latin typeface=""/>
                <a:ea typeface="微软雅黑" panose="020B0503020204020204" pitchFamily="34" charset="-122"/>
                <a:sym typeface=""/>
              </a:rPr>
              <a:t>Case Managemen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AAB53B1-003F-4E23-B087-245B5AFFDE64}"/>
              </a:ext>
            </a:extLst>
          </p:cNvPr>
          <p:cNvCxnSpPr>
            <a:cxnSpLocks/>
          </p:cNvCxnSpPr>
          <p:nvPr/>
        </p:nvCxnSpPr>
        <p:spPr>
          <a:xfrm>
            <a:off x="7716838" y="2090568"/>
            <a:ext cx="0" cy="4079600"/>
          </a:xfrm>
          <a:prstGeom prst="line">
            <a:avLst/>
          </a:prstGeom>
          <a:ln w="19050">
            <a:solidFill>
              <a:srgbClr val="002C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5456716" y="3599469"/>
            <a:ext cx="118529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00" b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Ticket Configuration</a:t>
            </a:r>
            <a:endParaRPr lang="zh-CN" altLang="en-US" sz="700" b="1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38" name="组合 37"/>
          <p:cNvGrpSpPr/>
          <p:nvPr/>
        </p:nvGrpSpPr>
        <p:grpSpPr>
          <a:xfrm>
            <a:off x="19289" y="613003"/>
            <a:ext cx="7677320" cy="6190161"/>
            <a:chOff x="19289" y="613003"/>
            <a:chExt cx="7677320" cy="6190161"/>
          </a:xfrm>
        </p:grpSpPr>
        <p:grpSp>
          <p:nvGrpSpPr>
            <p:cNvPr id="36" name="组合 35"/>
            <p:cNvGrpSpPr/>
            <p:nvPr/>
          </p:nvGrpSpPr>
          <p:grpSpPr>
            <a:xfrm>
              <a:off x="19289" y="613003"/>
              <a:ext cx="7677320" cy="6190161"/>
              <a:chOff x="-19127" y="583476"/>
              <a:chExt cx="7677320" cy="6190161"/>
            </a:xfrm>
          </p:grpSpPr>
          <p:grpSp>
            <p:nvGrpSpPr>
              <p:cNvPr id="20" name="组合 19"/>
              <p:cNvGrpSpPr/>
              <p:nvPr/>
            </p:nvGrpSpPr>
            <p:grpSpPr>
              <a:xfrm>
                <a:off x="-19127" y="583476"/>
                <a:ext cx="7677320" cy="6190161"/>
                <a:chOff x="4106109" y="2807614"/>
                <a:chExt cx="3625503" cy="2907741"/>
              </a:xfrm>
            </p:grpSpPr>
            <p:grpSp>
              <p:nvGrpSpPr>
                <p:cNvPr id="22" name="组合 21"/>
                <p:cNvGrpSpPr/>
                <p:nvPr/>
              </p:nvGrpSpPr>
              <p:grpSpPr>
                <a:xfrm>
                  <a:off x="4106109" y="2807614"/>
                  <a:ext cx="3625503" cy="2907741"/>
                  <a:chOff x="4106109" y="2807614"/>
                  <a:chExt cx="3625503" cy="2907741"/>
                </a:xfrm>
              </p:grpSpPr>
              <p:pic>
                <p:nvPicPr>
                  <p:cNvPr id="25" name="Graphic 17">
                    <a:extLst>
                      <a:ext uri="{FF2B5EF4-FFF2-40B4-BE49-F238E27FC236}">
                        <a16:creationId xmlns:a16="http://schemas.microsoft.com/office/drawing/2014/main" xmlns="" id="{08C544FC-4F5F-5347-B8DD-5090375E4CC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3">
                    <a:extLst>
                      <a:ext uri="{96DAC541-7B7A-43D3-8B79-37D633B846F1}">
                        <asvg:svgBlip xmlns:asvg="http://schemas.microsoft.com/office/drawing/2016/SVG/main" xmlns="" r:embed="rId18"/>
                      </a:ext>
                    </a:extLst>
                  </a:blip>
                  <a:srcRect r="7698"/>
                  <a:stretch/>
                </p:blipFill>
                <p:spPr>
                  <a:xfrm>
                    <a:off x="4106109" y="2807614"/>
                    <a:ext cx="3625503" cy="2907741"/>
                  </a:xfrm>
                  <a:prstGeom prst="rect">
                    <a:avLst/>
                  </a:prstGeom>
                </p:spPr>
              </p:pic>
              <p:pic>
                <p:nvPicPr>
                  <p:cNvPr id="26" name="图片 25"/>
                  <p:cNvPicPr>
                    <a:picLocks noChangeAspect="1"/>
                  </p:cNvPicPr>
                  <p:nvPr/>
                </p:nvPicPr>
                <p:blipFill>
                  <a:blip r:embed="rId19"/>
                  <a:stretch>
                    <a:fillRect/>
                  </a:stretch>
                </p:blipFill>
                <p:spPr>
                  <a:xfrm>
                    <a:off x="4468184" y="3308791"/>
                    <a:ext cx="505495" cy="240418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24" name="矩形 23"/>
                <p:cNvSpPr/>
                <p:nvPr/>
              </p:nvSpPr>
              <p:spPr>
                <a:xfrm>
                  <a:off x="6509385" y="4238625"/>
                  <a:ext cx="483870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grpSp>
            <p:nvGrpSpPr>
              <p:cNvPr id="28" name="组合 27"/>
              <p:cNvGrpSpPr/>
              <p:nvPr/>
            </p:nvGrpSpPr>
            <p:grpSpPr>
              <a:xfrm>
                <a:off x="782075" y="2424619"/>
                <a:ext cx="2800115" cy="1010991"/>
                <a:chOff x="782075" y="2424619"/>
                <a:chExt cx="2800115" cy="1010991"/>
              </a:xfrm>
            </p:grpSpPr>
            <p:sp>
              <p:nvSpPr>
                <p:cNvPr id="6" name="矩形 5"/>
                <p:cNvSpPr/>
                <p:nvPr/>
              </p:nvSpPr>
              <p:spPr>
                <a:xfrm>
                  <a:off x="889000" y="2529840"/>
                  <a:ext cx="467360" cy="2082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pic>
              <p:nvPicPr>
                <p:cNvPr id="9" name="图片 8"/>
                <p:cNvPicPr>
                  <a:picLocks noChangeAspect="1"/>
                </p:cNvPicPr>
                <p:nvPr/>
              </p:nvPicPr>
              <p:blipFill rotWithShape="1">
                <a:blip r:embed="rId20"/>
                <a:srcRect l="13396" t="15302" r="8417" b="42851"/>
                <a:stretch/>
              </p:blipFill>
              <p:spPr>
                <a:xfrm>
                  <a:off x="803941" y="2424619"/>
                  <a:ext cx="558800" cy="188734"/>
                </a:xfrm>
                <a:prstGeom prst="rect">
                  <a:avLst/>
                </a:prstGeom>
              </p:spPr>
            </p:pic>
            <p:sp>
              <p:nvSpPr>
                <p:cNvPr id="13" name="矩形 12"/>
                <p:cNvSpPr/>
                <p:nvPr/>
              </p:nvSpPr>
              <p:spPr>
                <a:xfrm>
                  <a:off x="862094" y="2738120"/>
                  <a:ext cx="528125" cy="2082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pic>
              <p:nvPicPr>
                <p:cNvPr id="11" name="图片 10"/>
                <p:cNvPicPr>
                  <a:picLocks noChangeAspect="1"/>
                </p:cNvPicPr>
                <p:nvPr/>
              </p:nvPicPr>
              <p:blipFill rotWithShape="1">
                <a:blip r:embed="rId21"/>
                <a:srcRect t="18608"/>
                <a:stretch/>
              </p:blipFill>
              <p:spPr>
                <a:xfrm>
                  <a:off x="782075" y="2613353"/>
                  <a:ext cx="455148" cy="193460"/>
                </a:xfrm>
                <a:prstGeom prst="rect">
                  <a:avLst/>
                </a:prstGeom>
              </p:spPr>
            </p:pic>
            <p:pic>
              <p:nvPicPr>
                <p:cNvPr id="14" name="图片 13"/>
                <p:cNvPicPr>
                  <a:picLocks noChangeAspect="1"/>
                </p:cNvPicPr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1517949" y="2445246"/>
                  <a:ext cx="566038" cy="171961"/>
                </a:xfrm>
                <a:prstGeom prst="rect">
                  <a:avLst/>
                </a:prstGeom>
              </p:spPr>
            </p:pic>
            <p:pic>
              <p:nvPicPr>
                <p:cNvPr id="15" name="图片 14"/>
                <p:cNvPicPr>
                  <a:picLocks noChangeAspect="1"/>
                </p:cNvPicPr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2323363" y="2425425"/>
                  <a:ext cx="559124" cy="208830"/>
                </a:xfrm>
                <a:prstGeom prst="rect">
                  <a:avLst/>
                </a:prstGeom>
              </p:spPr>
            </p:pic>
            <p:pic>
              <p:nvPicPr>
                <p:cNvPr id="16" name="图片 15"/>
                <p:cNvPicPr>
                  <a:picLocks noChangeAspect="1"/>
                </p:cNvPicPr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3148398" y="2447116"/>
                  <a:ext cx="433792" cy="186864"/>
                </a:xfrm>
                <a:prstGeom prst="rect">
                  <a:avLst/>
                </a:prstGeom>
              </p:spPr>
            </p:pic>
            <p:pic>
              <p:nvPicPr>
                <p:cNvPr id="18" name="图片 17"/>
                <p:cNvPicPr>
                  <a:picLocks noChangeAspect="1"/>
                </p:cNvPicPr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803941" y="3069768"/>
                  <a:ext cx="411417" cy="191015"/>
                </a:xfrm>
                <a:prstGeom prst="rect">
                  <a:avLst/>
                </a:prstGeom>
              </p:spPr>
            </p:pic>
            <p:pic>
              <p:nvPicPr>
                <p:cNvPr id="27" name="图片 26"/>
                <p:cNvPicPr>
                  <a:picLocks noChangeAspect="1"/>
                </p:cNvPicPr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803941" y="3254533"/>
                  <a:ext cx="221965" cy="181077"/>
                </a:xfrm>
                <a:prstGeom prst="rect">
                  <a:avLst/>
                </a:prstGeom>
              </p:spPr>
            </p:pic>
          </p:grpSp>
        </p:grpSp>
        <p:sp>
          <p:nvSpPr>
            <p:cNvPr id="39" name="文本框 38"/>
            <p:cNvSpPr txBox="1"/>
            <p:nvPr/>
          </p:nvSpPr>
          <p:spPr>
            <a:xfrm>
              <a:off x="5436487" y="3573246"/>
              <a:ext cx="123826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b="1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Ticket Configuration</a:t>
              </a:r>
              <a:endParaRPr lang="zh-CN" altLang="en-US" sz="900" b="1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sp>
        <p:nvSpPr>
          <p:cNvPr id="5" name="Oval 4">
            <a:extLst>
              <a:ext uri="{FF2B5EF4-FFF2-40B4-BE49-F238E27FC236}">
                <a16:creationId xmlns="" xmlns:a16="http://schemas.microsoft.com/office/drawing/2014/main" id="{5516CB75-7C1A-4EEA-8C6B-B61E53F9B2EA}"/>
              </a:ext>
            </a:extLst>
          </p:cNvPr>
          <p:cNvSpPr/>
          <p:nvPr/>
        </p:nvSpPr>
        <p:spPr>
          <a:xfrm>
            <a:off x="7366411" y="1430107"/>
            <a:ext cx="660396" cy="660396"/>
          </a:xfrm>
          <a:prstGeom prst="ellipse">
            <a:avLst/>
          </a:prstGeom>
          <a:solidFill>
            <a:srgbClr val="002C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任意多边形 60">
            <a:extLst>
              <a:ext uri="{FF2B5EF4-FFF2-40B4-BE49-F238E27FC236}">
                <a16:creationId xmlns="" xmlns:a16="http://schemas.microsoft.com/office/drawing/2014/main" id="{194C086D-18FB-4BFB-ACD6-652B17C2BB40}"/>
              </a:ext>
            </a:extLst>
          </p:cNvPr>
          <p:cNvSpPr/>
          <p:nvPr/>
        </p:nvSpPr>
        <p:spPr>
          <a:xfrm>
            <a:off x="7527410" y="1635266"/>
            <a:ext cx="344133" cy="250208"/>
          </a:xfrm>
          <a:custGeom>
            <a:avLst/>
            <a:gdLst>
              <a:gd name="connsiteX0" fmla="*/ 486767 w 514350"/>
              <a:gd name="connsiteY0" fmla="*/ 621 h 409575"/>
              <a:gd name="connsiteX1" fmla="*/ 515342 w 514350"/>
              <a:gd name="connsiteY1" fmla="*/ 29196 h 409575"/>
              <a:gd name="connsiteX2" fmla="*/ 515342 w 514350"/>
              <a:gd name="connsiteY2" fmla="*/ 324471 h 409575"/>
              <a:gd name="connsiteX3" fmla="*/ 486767 w 514350"/>
              <a:gd name="connsiteY3" fmla="*/ 353046 h 409575"/>
              <a:gd name="connsiteX4" fmla="*/ 192159 w 514350"/>
              <a:gd name="connsiteY4" fmla="*/ 353046 h 409575"/>
              <a:gd name="connsiteX5" fmla="*/ 115387 w 514350"/>
              <a:gd name="connsiteY5" fmla="*/ 410196 h 409575"/>
              <a:gd name="connsiteX6" fmla="*/ 115387 w 514350"/>
              <a:gd name="connsiteY6" fmla="*/ 353046 h 409575"/>
              <a:gd name="connsiteX7" fmla="*/ 29567 w 514350"/>
              <a:gd name="connsiteY7" fmla="*/ 353046 h 409575"/>
              <a:gd name="connsiteX8" fmla="*/ 992 w 514350"/>
              <a:gd name="connsiteY8" fmla="*/ 324471 h 409575"/>
              <a:gd name="connsiteX9" fmla="*/ 992 w 514350"/>
              <a:gd name="connsiteY9" fmla="*/ 29196 h 409575"/>
              <a:gd name="connsiteX10" fmla="*/ 29567 w 514350"/>
              <a:gd name="connsiteY10" fmla="*/ 621 h 409575"/>
              <a:gd name="connsiteX11" fmla="*/ 486767 w 514350"/>
              <a:gd name="connsiteY11" fmla="*/ 621 h 409575"/>
              <a:gd name="connsiteX12" fmla="*/ 124817 w 514350"/>
              <a:gd name="connsiteY12" fmla="*/ 143496 h 409575"/>
              <a:gd name="connsiteX13" fmla="*/ 91480 w 514350"/>
              <a:gd name="connsiteY13" fmla="*/ 176834 h 409575"/>
              <a:gd name="connsiteX14" fmla="*/ 124817 w 514350"/>
              <a:gd name="connsiteY14" fmla="*/ 210171 h 409575"/>
              <a:gd name="connsiteX15" fmla="*/ 158155 w 514350"/>
              <a:gd name="connsiteY15" fmla="*/ 176834 h 409575"/>
              <a:gd name="connsiteX16" fmla="*/ 124817 w 514350"/>
              <a:gd name="connsiteY16" fmla="*/ 143496 h 409575"/>
              <a:gd name="connsiteX17" fmla="*/ 258167 w 514350"/>
              <a:gd name="connsiteY17" fmla="*/ 143496 h 409575"/>
              <a:gd name="connsiteX18" fmla="*/ 224830 w 514350"/>
              <a:gd name="connsiteY18" fmla="*/ 176834 h 409575"/>
              <a:gd name="connsiteX19" fmla="*/ 258167 w 514350"/>
              <a:gd name="connsiteY19" fmla="*/ 210171 h 409575"/>
              <a:gd name="connsiteX20" fmla="*/ 291505 w 514350"/>
              <a:gd name="connsiteY20" fmla="*/ 176834 h 409575"/>
              <a:gd name="connsiteX21" fmla="*/ 258167 w 514350"/>
              <a:gd name="connsiteY21" fmla="*/ 143496 h 409575"/>
              <a:gd name="connsiteX22" fmla="*/ 391517 w 514350"/>
              <a:gd name="connsiteY22" fmla="*/ 143496 h 409575"/>
              <a:gd name="connsiteX23" fmla="*/ 358180 w 514350"/>
              <a:gd name="connsiteY23" fmla="*/ 176834 h 409575"/>
              <a:gd name="connsiteX24" fmla="*/ 391517 w 514350"/>
              <a:gd name="connsiteY24" fmla="*/ 210171 h 409575"/>
              <a:gd name="connsiteX25" fmla="*/ 424855 w 514350"/>
              <a:gd name="connsiteY25" fmla="*/ 176834 h 409575"/>
              <a:gd name="connsiteX26" fmla="*/ 391517 w 514350"/>
              <a:gd name="connsiteY26" fmla="*/ 143496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6767" y="621"/>
                </a:moveTo>
                <a:cubicBezTo>
                  <a:pt x="502579" y="621"/>
                  <a:pt x="515342" y="13385"/>
                  <a:pt x="515342" y="29196"/>
                </a:cubicBezTo>
                <a:lnTo>
                  <a:pt x="515342" y="324471"/>
                </a:lnTo>
                <a:cubicBezTo>
                  <a:pt x="515342" y="340282"/>
                  <a:pt x="502579" y="353046"/>
                  <a:pt x="486767" y="353046"/>
                </a:cubicBezTo>
                <a:lnTo>
                  <a:pt x="192159" y="353046"/>
                </a:lnTo>
                <a:lnTo>
                  <a:pt x="115387" y="410196"/>
                </a:lnTo>
                <a:lnTo>
                  <a:pt x="115387" y="353046"/>
                </a:lnTo>
                <a:lnTo>
                  <a:pt x="29567" y="353046"/>
                </a:lnTo>
                <a:cubicBezTo>
                  <a:pt x="13755" y="353046"/>
                  <a:pt x="992" y="340282"/>
                  <a:pt x="992" y="324471"/>
                </a:cubicBezTo>
                <a:lnTo>
                  <a:pt x="992" y="29196"/>
                </a:lnTo>
                <a:cubicBezTo>
                  <a:pt x="992" y="13385"/>
                  <a:pt x="13755" y="621"/>
                  <a:pt x="29567" y="621"/>
                </a:cubicBezTo>
                <a:lnTo>
                  <a:pt x="486767" y="621"/>
                </a:lnTo>
                <a:close/>
                <a:moveTo>
                  <a:pt x="124817" y="143496"/>
                </a:moveTo>
                <a:cubicBezTo>
                  <a:pt x="106434" y="143496"/>
                  <a:pt x="91480" y="158450"/>
                  <a:pt x="91480" y="176834"/>
                </a:cubicBezTo>
                <a:cubicBezTo>
                  <a:pt x="91480" y="195217"/>
                  <a:pt x="106434" y="210171"/>
                  <a:pt x="124817" y="210171"/>
                </a:cubicBezTo>
                <a:cubicBezTo>
                  <a:pt x="143200" y="210171"/>
                  <a:pt x="158155" y="195217"/>
                  <a:pt x="158155" y="176834"/>
                </a:cubicBezTo>
                <a:cubicBezTo>
                  <a:pt x="158155" y="158450"/>
                  <a:pt x="143200" y="143496"/>
                  <a:pt x="124817" y="143496"/>
                </a:cubicBezTo>
                <a:close/>
                <a:moveTo>
                  <a:pt x="258167" y="143496"/>
                </a:moveTo>
                <a:cubicBezTo>
                  <a:pt x="239784" y="143496"/>
                  <a:pt x="224830" y="158450"/>
                  <a:pt x="224830" y="176834"/>
                </a:cubicBezTo>
                <a:cubicBezTo>
                  <a:pt x="224830" y="195217"/>
                  <a:pt x="239784" y="210171"/>
                  <a:pt x="258167" y="210171"/>
                </a:cubicBezTo>
                <a:cubicBezTo>
                  <a:pt x="276550" y="210171"/>
                  <a:pt x="291505" y="195217"/>
                  <a:pt x="291505" y="176834"/>
                </a:cubicBezTo>
                <a:cubicBezTo>
                  <a:pt x="291505" y="158450"/>
                  <a:pt x="276550" y="143496"/>
                  <a:pt x="258167" y="143496"/>
                </a:cubicBezTo>
                <a:close/>
                <a:moveTo>
                  <a:pt x="391517" y="143496"/>
                </a:moveTo>
                <a:cubicBezTo>
                  <a:pt x="373134" y="143496"/>
                  <a:pt x="358180" y="158450"/>
                  <a:pt x="358180" y="176834"/>
                </a:cubicBezTo>
                <a:cubicBezTo>
                  <a:pt x="358180" y="195217"/>
                  <a:pt x="373134" y="210171"/>
                  <a:pt x="391517" y="210171"/>
                </a:cubicBezTo>
                <a:cubicBezTo>
                  <a:pt x="409900" y="210171"/>
                  <a:pt x="424855" y="195217"/>
                  <a:pt x="424855" y="176834"/>
                </a:cubicBezTo>
                <a:cubicBezTo>
                  <a:pt x="424855" y="158450"/>
                  <a:pt x="409900" y="143496"/>
                  <a:pt x="391517" y="143496"/>
                </a:cubicBezTo>
                <a:close/>
              </a:path>
            </a:pathLst>
          </a:custGeom>
          <a:solidFill>
            <a:srgbClr val="FFFFFF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10087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="" xmlns:a16="http://schemas.microsoft.com/office/drawing/2014/main" id="{B0728806-1679-594F-9057-EA8039A2FC3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x-none"/>
              <a:t>Business Problem</a:t>
            </a:r>
            <a:endParaRPr lang="x-none" dirty="0"/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0" y="6321425"/>
            <a:ext cx="80963" cy="1778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6820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"/>
                <a:sym typeface=""/>
              </a:rPr>
              <a:t>Risk Management</a:t>
            </a:r>
            <a:endParaRPr lang="en-US" dirty="0"/>
          </a:p>
        </p:txBody>
      </p:sp>
      <p:sp>
        <p:nvSpPr>
          <p:cNvPr id="3" name="表格占位符 2"/>
          <p:cNvSpPr>
            <a:spLocks noGrp="1"/>
          </p:cNvSpPr>
          <p:nvPr>
            <p:ph type="tbl" sz="quarter" idx="10"/>
          </p:nvPr>
        </p:nvSpPr>
        <p:spPr>
          <a:xfrm>
            <a:off x="587374" y="1740281"/>
            <a:ext cx="11028773" cy="4264108"/>
          </a:xfrm>
        </p:spPr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FDF4C579-5AEB-4067-8748-A851F1BD22FA}"/>
              </a:ext>
            </a:extLst>
          </p:cNvPr>
          <p:cNvSpPr/>
          <p:nvPr/>
        </p:nvSpPr>
        <p:spPr>
          <a:xfrm>
            <a:off x="-1" y="1249970"/>
            <a:ext cx="12192001" cy="152218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20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D10F9BAB-2E0F-47A0-94F7-809D61439A2B}"/>
              </a:ext>
            </a:extLst>
          </p:cNvPr>
          <p:cNvSpPr/>
          <p:nvPr/>
        </p:nvSpPr>
        <p:spPr>
          <a:xfrm>
            <a:off x="587413" y="2057781"/>
            <a:ext cx="11017175" cy="41306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C7D339A4-4BAC-4D31-BF51-BE79BB6C662C}"/>
              </a:ext>
            </a:extLst>
          </p:cNvPr>
          <p:cNvSpPr txBox="1"/>
          <p:nvPr/>
        </p:nvSpPr>
        <p:spPr>
          <a:xfrm>
            <a:off x="3045618" y="1450943"/>
            <a:ext cx="6100762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sset Centric Risk Managemen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053F0545-7AF7-464E-97F4-F8198CCA04DC}"/>
              </a:ext>
            </a:extLst>
          </p:cNvPr>
          <p:cNvGrpSpPr/>
          <p:nvPr/>
        </p:nvGrpSpPr>
        <p:grpSpPr>
          <a:xfrm>
            <a:off x="4619549" y="2298769"/>
            <a:ext cx="2971876" cy="2848598"/>
            <a:chOff x="4314059" y="1842857"/>
            <a:chExt cx="3563882" cy="3416046"/>
          </a:xfrm>
        </p:grpSpPr>
        <p:sp>
          <p:nvSpPr>
            <p:cNvPr id="20" name="任意多边形 8">
              <a:extLst>
                <a:ext uri="{FF2B5EF4-FFF2-40B4-BE49-F238E27FC236}">
                  <a16:creationId xmlns="" xmlns:a16="http://schemas.microsoft.com/office/drawing/2014/main" id="{87C87D1D-8A19-40AF-BA53-5DEC186663EB}"/>
                </a:ext>
              </a:extLst>
            </p:cNvPr>
            <p:cNvSpPr/>
            <p:nvPr/>
          </p:nvSpPr>
          <p:spPr>
            <a:xfrm>
              <a:off x="5414857" y="1842857"/>
              <a:ext cx="1370264" cy="1086845"/>
            </a:xfrm>
            <a:custGeom>
              <a:avLst/>
              <a:gdLst>
                <a:gd name="connsiteX0" fmla="*/ 938403 w 938402"/>
                <a:gd name="connsiteY0" fmla="*/ 744307 h 744307"/>
                <a:gd name="connsiteX1" fmla="*/ 528447 w 938402"/>
                <a:gd name="connsiteY1" fmla="*/ 34219 h 744307"/>
                <a:gd name="connsiteX2" fmla="*/ 409956 w 938402"/>
                <a:gd name="connsiteY2" fmla="*/ 34219 h 744307"/>
                <a:gd name="connsiteX3" fmla="*/ 0 w 938402"/>
                <a:gd name="connsiteY3" fmla="*/ 744307 h 74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8402" h="744307">
                  <a:moveTo>
                    <a:pt x="938403" y="744307"/>
                  </a:moveTo>
                  <a:lnTo>
                    <a:pt x="528447" y="34219"/>
                  </a:lnTo>
                  <a:cubicBezTo>
                    <a:pt x="502158" y="-11406"/>
                    <a:pt x="436340" y="-11406"/>
                    <a:pt x="409956" y="34219"/>
                  </a:cubicBezTo>
                  <a:lnTo>
                    <a:pt x="0" y="744307"/>
                  </a:lnTo>
                </a:path>
              </a:pathLst>
            </a:custGeom>
            <a:noFill/>
            <a:ln w="19050" cap="rnd">
              <a:solidFill>
                <a:schemeClr val="accent4"/>
              </a:solidFill>
              <a:prstDash val="solid"/>
              <a:round/>
              <a:headEnd type="triangle"/>
            </a:ln>
            <a:effectLst>
              <a:outerShdw blurRad="50800" dist="50800" dir="5400000" algn="ctr" rotWithShape="0">
                <a:schemeClr val="accent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zh-CN" altLang="en-US" sz="1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1" name="任意多边形 45">
              <a:extLst>
                <a:ext uri="{FF2B5EF4-FFF2-40B4-BE49-F238E27FC236}">
                  <a16:creationId xmlns="" xmlns:a16="http://schemas.microsoft.com/office/drawing/2014/main" id="{B36BEDBA-8F7F-423A-9293-522185E884B6}"/>
                </a:ext>
              </a:extLst>
            </p:cNvPr>
            <p:cNvSpPr/>
            <p:nvPr/>
          </p:nvSpPr>
          <p:spPr>
            <a:xfrm rot="7200000">
              <a:off x="6649387" y="4030348"/>
              <a:ext cx="1370264" cy="1086845"/>
            </a:xfrm>
            <a:custGeom>
              <a:avLst/>
              <a:gdLst>
                <a:gd name="connsiteX0" fmla="*/ 938403 w 938402"/>
                <a:gd name="connsiteY0" fmla="*/ 744307 h 744307"/>
                <a:gd name="connsiteX1" fmla="*/ 528447 w 938402"/>
                <a:gd name="connsiteY1" fmla="*/ 34219 h 744307"/>
                <a:gd name="connsiteX2" fmla="*/ 409956 w 938402"/>
                <a:gd name="connsiteY2" fmla="*/ 34219 h 744307"/>
                <a:gd name="connsiteX3" fmla="*/ 0 w 938402"/>
                <a:gd name="connsiteY3" fmla="*/ 744307 h 74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8402" h="744307">
                  <a:moveTo>
                    <a:pt x="938403" y="744307"/>
                  </a:moveTo>
                  <a:lnTo>
                    <a:pt x="528447" y="34219"/>
                  </a:lnTo>
                  <a:cubicBezTo>
                    <a:pt x="502158" y="-11406"/>
                    <a:pt x="436340" y="-11406"/>
                    <a:pt x="409956" y="34219"/>
                  </a:cubicBezTo>
                  <a:lnTo>
                    <a:pt x="0" y="744307"/>
                  </a:lnTo>
                </a:path>
              </a:pathLst>
            </a:custGeom>
            <a:noFill/>
            <a:ln w="19050" cap="rnd">
              <a:solidFill>
                <a:schemeClr val="accent5">
                  <a:lumMod val="75000"/>
                </a:schemeClr>
              </a:solidFill>
              <a:prstDash val="solid"/>
              <a:round/>
              <a:headEnd type="triangle"/>
            </a:ln>
            <a:effectLst>
              <a:outerShdw blurRad="50800" dist="50800" dir="5400000" algn="ctr" rotWithShape="0">
                <a:schemeClr val="accent3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zh-CN" altLang="en-US" sz="1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2" name="任意多边形 46">
              <a:extLst>
                <a:ext uri="{FF2B5EF4-FFF2-40B4-BE49-F238E27FC236}">
                  <a16:creationId xmlns="" xmlns:a16="http://schemas.microsoft.com/office/drawing/2014/main" id="{A6C85F18-539A-4533-8472-5588F60FAC58}"/>
                </a:ext>
              </a:extLst>
            </p:cNvPr>
            <p:cNvSpPr/>
            <p:nvPr/>
          </p:nvSpPr>
          <p:spPr>
            <a:xfrm rot="14400000" flipH="1">
              <a:off x="4172350" y="4030348"/>
              <a:ext cx="1370264" cy="1086845"/>
            </a:xfrm>
            <a:custGeom>
              <a:avLst/>
              <a:gdLst>
                <a:gd name="connsiteX0" fmla="*/ 938403 w 938402"/>
                <a:gd name="connsiteY0" fmla="*/ 744307 h 744307"/>
                <a:gd name="connsiteX1" fmla="*/ 528447 w 938402"/>
                <a:gd name="connsiteY1" fmla="*/ 34219 h 744307"/>
                <a:gd name="connsiteX2" fmla="*/ 409956 w 938402"/>
                <a:gd name="connsiteY2" fmla="*/ 34219 h 744307"/>
                <a:gd name="connsiteX3" fmla="*/ 0 w 938402"/>
                <a:gd name="connsiteY3" fmla="*/ 744307 h 74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8402" h="744307">
                  <a:moveTo>
                    <a:pt x="938403" y="744307"/>
                  </a:moveTo>
                  <a:lnTo>
                    <a:pt x="528447" y="34219"/>
                  </a:lnTo>
                  <a:cubicBezTo>
                    <a:pt x="502158" y="-11406"/>
                    <a:pt x="436340" y="-11406"/>
                    <a:pt x="409956" y="34219"/>
                  </a:cubicBezTo>
                  <a:lnTo>
                    <a:pt x="0" y="744307"/>
                  </a:lnTo>
                </a:path>
              </a:pathLst>
            </a:custGeom>
            <a:noFill/>
            <a:ln w="19050" cap="rnd">
              <a:solidFill>
                <a:schemeClr val="bg1">
                  <a:lumMod val="50000"/>
                </a:schemeClr>
              </a:solidFill>
              <a:prstDash val="solid"/>
              <a:round/>
              <a:headEnd type="none"/>
              <a:tailEnd type="triangle"/>
            </a:ln>
            <a:effectLst>
              <a:outerShdw blurRad="50800" dist="50800" dir="5400000" algn="ctr" rotWithShape="0">
                <a:schemeClr val="accent3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zh-CN" altLang="en-US" sz="1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4" name="Oval 22">
              <a:extLst>
                <a:ext uri="{FF2B5EF4-FFF2-40B4-BE49-F238E27FC236}">
                  <a16:creationId xmlns="" xmlns:a16="http://schemas.microsoft.com/office/drawing/2014/main" id="{833EE65B-12CC-41D6-B434-382B61DE124D}"/>
                </a:ext>
              </a:extLst>
            </p:cNvPr>
            <p:cNvSpPr/>
            <p:nvPr/>
          </p:nvSpPr>
          <p:spPr>
            <a:xfrm>
              <a:off x="4769242" y="3059673"/>
              <a:ext cx="537485" cy="513057"/>
            </a:xfrm>
            <a:custGeom>
              <a:avLst/>
              <a:gdLst>
                <a:gd name="T0" fmla="*/ 3200 w 11734"/>
                <a:gd name="T1" fmla="*/ 2133 h 11200"/>
                <a:gd name="T2" fmla="*/ 4800 w 11734"/>
                <a:gd name="T3" fmla="*/ 1067 h 11200"/>
                <a:gd name="T4" fmla="*/ 4800 w 11734"/>
                <a:gd name="T5" fmla="*/ 2133 h 11200"/>
                <a:gd name="T6" fmla="*/ 6134 w 11734"/>
                <a:gd name="T7" fmla="*/ 1333 h 11200"/>
                <a:gd name="T8" fmla="*/ 8534 w 11734"/>
                <a:gd name="T9" fmla="*/ 1333 h 11200"/>
                <a:gd name="T10" fmla="*/ 3200 w 11734"/>
                <a:gd name="T11" fmla="*/ 4800 h 11200"/>
                <a:gd name="T12" fmla="*/ 4800 w 11734"/>
                <a:gd name="T13" fmla="*/ 3733 h 11200"/>
                <a:gd name="T14" fmla="*/ 4800 w 11734"/>
                <a:gd name="T15" fmla="*/ 4800 h 11200"/>
                <a:gd name="T16" fmla="*/ 6134 w 11734"/>
                <a:gd name="T17" fmla="*/ 4000 h 11200"/>
                <a:gd name="T18" fmla="*/ 8534 w 11734"/>
                <a:gd name="T19" fmla="*/ 4000 h 11200"/>
                <a:gd name="T20" fmla="*/ 3200 w 11734"/>
                <a:gd name="T21" fmla="*/ 7467 h 11200"/>
                <a:gd name="T22" fmla="*/ 4800 w 11734"/>
                <a:gd name="T23" fmla="*/ 6400 h 11200"/>
                <a:gd name="T24" fmla="*/ 4800 w 11734"/>
                <a:gd name="T25" fmla="*/ 7467 h 11200"/>
                <a:gd name="T26" fmla="*/ 6134 w 11734"/>
                <a:gd name="T27" fmla="*/ 6667 h 11200"/>
                <a:gd name="T28" fmla="*/ 8534 w 11734"/>
                <a:gd name="T29" fmla="*/ 6667 h 11200"/>
                <a:gd name="T30" fmla="*/ 3200 w 11734"/>
                <a:gd name="T31" fmla="*/ 10133 h 11200"/>
                <a:gd name="T32" fmla="*/ 4800 w 11734"/>
                <a:gd name="T33" fmla="*/ 9067 h 11200"/>
                <a:gd name="T34" fmla="*/ 4800 w 11734"/>
                <a:gd name="T35" fmla="*/ 10133 h 11200"/>
                <a:gd name="T36" fmla="*/ 6134 w 11734"/>
                <a:gd name="T37" fmla="*/ 9333 h 11200"/>
                <a:gd name="T38" fmla="*/ 8534 w 11734"/>
                <a:gd name="T39" fmla="*/ 9333 h 11200"/>
                <a:gd name="T40" fmla="*/ 2134 w 11734"/>
                <a:gd name="T41" fmla="*/ 267 h 11200"/>
                <a:gd name="T42" fmla="*/ 9334 w 11734"/>
                <a:gd name="T43" fmla="*/ 11200 h 11200"/>
                <a:gd name="T44" fmla="*/ 9334 w 11734"/>
                <a:gd name="T45" fmla="*/ 0 h 11200"/>
                <a:gd name="T46" fmla="*/ 2667 w 11734"/>
                <a:gd name="T47" fmla="*/ 8533 h 11200"/>
                <a:gd name="T48" fmla="*/ 9067 w 11734"/>
                <a:gd name="T49" fmla="*/ 8000 h 11200"/>
                <a:gd name="T50" fmla="*/ 9067 w 11734"/>
                <a:gd name="T51" fmla="*/ 5867 h 11200"/>
                <a:gd name="T52" fmla="*/ 2667 w 11734"/>
                <a:gd name="T53" fmla="*/ 5333 h 11200"/>
                <a:gd name="T54" fmla="*/ 9067 w 11734"/>
                <a:gd name="T55" fmla="*/ 5333 h 11200"/>
                <a:gd name="T56" fmla="*/ 2667 w 11734"/>
                <a:gd name="T57" fmla="*/ 533 h 11200"/>
                <a:gd name="T58" fmla="*/ 0 w 11734"/>
                <a:gd name="T59" fmla="*/ 2400 h 11200"/>
                <a:gd name="T60" fmla="*/ 1600 w 11734"/>
                <a:gd name="T61" fmla="*/ 9067 h 11200"/>
                <a:gd name="T62" fmla="*/ 534 w 11734"/>
                <a:gd name="T63" fmla="*/ 7467 h 11200"/>
                <a:gd name="T64" fmla="*/ 534 w 11734"/>
                <a:gd name="T65" fmla="*/ 6933 h 11200"/>
                <a:gd name="T66" fmla="*/ 1600 w 11734"/>
                <a:gd name="T67" fmla="*/ 5333 h 11200"/>
                <a:gd name="T68" fmla="*/ 1600 w 11734"/>
                <a:gd name="T69" fmla="*/ 4267 h 11200"/>
                <a:gd name="T70" fmla="*/ 534 w 11734"/>
                <a:gd name="T71" fmla="*/ 2667 h 11200"/>
                <a:gd name="T72" fmla="*/ 267 w 11734"/>
                <a:gd name="T73" fmla="*/ 2133 h 11200"/>
                <a:gd name="T74" fmla="*/ 10134 w 11734"/>
                <a:gd name="T75" fmla="*/ 2133 h 11200"/>
                <a:gd name="T76" fmla="*/ 11200 w 11734"/>
                <a:gd name="T77" fmla="*/ 3733 h 11200"/>
                <a:gd name="T78" fmla="*/ 11200 w 11734"/>
                <a:gd name="T79" fmla="*/ 4267 h 11200"/>
                <a:gd name="T80" fmla="*/ 10134 w 11734"/>
                <a:gd name="T81" fmla="*/ 5867 h 11200"/>
                <a:gd name="T82" fmla="*/ 10134 w 11734"/>
                <a:gd name="T83" fmla="*/ 6933 h 11200"/>
                <a:gd name="T84" fmla="*/ 11200 w 11734"/>
                <a:gd name="T85" fmla="*/ 8533 h 11200"/>
                <a:gd name="T86" fmla="*/ 11467 w 11734"/>
                <a:gd name="T87" fmla="*/ 9067 h 11200"/>
                <a:gd name="T88" fmla="*/ 11467 w 11734"/>
                <a:gd name="T89" fmla="*/ 2133 h 1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34" h="11200">
                  <a:moveTo>
                    <a:pt x="3734" y="1067"/>
                  </a:moveTo>
                  <a:lnTo>
                    <a:pt x="3200" y="1067"/>
                  </a:lnTo>
                  <a:lnTo>
                    <a:pt x="3200" y="2133"/>
                  </a:lnTo>
                  <a:lnTo>
                    <a:pt x="3734" y="2133"/>
                  </a:lnTo>
                  <a:lnTo>
                    <a:pt x="3734" y="1067"/>
                  </a:lnTo>
                  <a:close/>
                  <a:moveTo>
                    <a:pt x="4800" y="1067"/>
                  </a:moveTo>
                  <a:lnTo>
                    <a:pt x="4267" y="1067"/>
                  </a:lnTo>
                  <a:lnTo>
                    <a:pt x="4267" y="2133"/>
                  </a:lnTo>
                  <a:lnTo>
                    <a:pt x="4800" y="2133"/>
                  </a:lnTo>
                  <a:lnTo>
                    <a:pt x="4800" y="1067"/>
                  </a:lnTo>
                  <a:close/>
                  <a:moveTo>
                    <a:pt x="8534" y="1333"/>
                  </a:moveTo>
                  <a:lnTo>
                    <a:pt x="6134" y="1333"/>
                  </a:lnTo>
                  <a:lnTo>
                    <a:pt x="6134" y="1867"/>
                  </a:lnTo>
                  <a:lnTo>
                    <a:pt x="8534" y="1867"/>
                  </a:lnTo>
                  <a:lnTo>
                    <a:pt x="8534" y="1333"/>
                  </a:lnTo>
                  <a:close/>
                  <a:moveTo>
                    <a:pt x="3734" y="3733"/>
                  </a:moveTo>
                  <a:lnTo>
                    <a:pt x="3200" y="3733"/>
                  </a:lnTo>
                  <a:lnTo>
                    <a:pt x="3200" y="4800"/>
                  </a:lnTo>
                  <a:lnTo>
                    <a:pt x="3734" y="4800"/>
                  </a:lnTo>
                  <a:lnTo>
                    <a:pt x="3734" y="3733"/>
                  </a:lnTo>
                  <a:close/>
                  <a:moveTo>
                    <a:pt x="4800" y="3733"/>
                  </a:moveTo>
                  <a:lnTo>
                    <a:pt x="4267" y="3733"/>
                  </a:lnTo>
                  <a:lnTo>
                    <a:pt x="4267" y="4800"/>
                  </a:lnTo>
                  <a:lnTo>
                    <a:pt x="4800" y="4800"/>
                  </a:lnTo>
                  <a:lnTo>
                    <a:pt x="4800" y="3733"/>
                  </a:lnTo>
                  <a:close/>
                  <a:moveTo>
                    <a:pt x="8534" y="4000"/>
                  </a:moveTo>
                  <a:lnTo>
                    <a:pt x="6134" y="4000"/>
                  </a:lnTo>
                  <a:lnTo>
                    <a:pt x="6134" y="4533"/>
                  </a:lnTo>
                  <a:lnTo>
                    <a:pt x="8534" y="4533"/>
                  </a:lnTo>
                  <a:lnTo>
                    <a:pt x="8534" y="4000"/>
                  </a:lnTo>
                  <a:close/>
                  <a:moveTo>
                    <a:pt x="3734" y="6400"/>
                  </a:moveTo>
                  <a:lnTo>
                    <a:pt x="3200" y="6400"/>
                  </a:lnTo>
                  <a:lnTo>
                    <a:pt x="3200" y="7467"/>
                  </a:lnTo>
                  <a:lnTo>
                    <a:pt x="3734" y="7467"/>
                  </a:lnTo>
                  <a:lnTo>
                    <a:pt x="3734" y="6400"/>
                  </a:lnTo>
                  <a:close/>
                  <a:moveTo>
                    <a:pt x="4800" y="6400"/>
                  </a:moveTo>
                  <a:lnTo>
                    <a:pt x="4267" y="6400"/>
                  </a:lnTo>
                  <a:lnTo>
                    <a:pt x="4267" y="7467"/>
                  </a:lnTo>
                  <a:lnTo>
                    <a:pt x="4800" y="7467"/>
                  </a:lnTo>
                  <a:lnTo>
                    <a:pt x="4800" y="6400"/>
                  </a:lnTo>
                  <a:close/>
                  <a:moveTo>
                    <a:pt x="8534" y="6667"/>
                  </a:moveTo>
                  <a:lnTo>
                    <a:pt x="6134" y="6667"/>
                  </a:lnTo>
                  <a:lnTo>
                    <a:pt x="6134" y="7200"/>
                  </a:lnTo>
                  <a:lnTo>
                    <a:pt x="8534" y="7200"/>
                  </a:lnTo>
                  <a:lnTo>
                    <a:pt x="8534" y="6667"/>
                  </a:lnTo>
                  <a:close/>
                  <a:moveTo>
                    <a:pt x="3734" y="9067"/>
                  </a:moveTo>
                  <a:lnTo>
                    <a:pt x="3200" y="9067"/>
                  </a:lnTo>
                  <a:lnTo>
                    <a:pt x="3200" y="10133"/>
                  </a:lnTo>
                  <a:lnTo>
                    <a:pt x="3734" y="10133"/>
                  </a:lnTo>
                  <a:lnTo>
                    <a:pt x="3734" y="9067"/>
                  </a:lnTo>
                  <a:close/>
                  <a:moveTo>
                    <a:pt x="4800" y="9067"/>
                  </a:moveTo>
                  <a:lnTo>
                    <a:pt x="4267" y="9067"/>
                  </a:lnTo>
                  <a:lnTo>
                    <a:pt x="4267" y="10133"/>
                  </a:lnTo>
                  <a:lnTo>
                    <a:pt x="4800" y="10133"/>
                  </a:lnTo>
                  <a:lnTo>
                    <a:pt x="4800" y="9067"/>
                  </a:lnTo>
                  <a:close/>
                  <a:moveTo>
                    <a:pt x="8534" y="9333"/>
                  </a:moveTo>
                  <a:lnTo>
                    <a:pt x="6134" y="9333"/>
                  </a:lnTo>
                  <a:lnTo>
                    <a:pt x="6134" y="9867"/>
                  </a:lnTo>
                  <a:lnTo>
                    <a:pt x="8534" y="9867"/>
                  </a:lnTo>
                  <a:lnTo>
                    <a:pt x="8534" y="9333"/>
                  </a:lnTo>
                  <a:close/>
                  <a:moveTo>
                    <a:pt x="9334" y="0"/>
                  </a:moveTo>
                  <a:lnTo>
                    <a:pt x="2400" y="0"/>
                  </a:lnTo>
                  <a:cubicBezTo>
                    <a:pt x="2240" y="0"/>
                    <a:pt x="2134" y="107"/>
                    <a:pt x="2134" y="267"/>
                  </a:cubicBezTo>
                  <a:lnTo>
                    <a:pt x="2134" y="10933"/>
                  </a:lnTo>
                  <a:cubicBezTo>
                    <a:pt x="2134" y="11093"/>
                    <a:pt x="2240" y="11200"/>
                    <a:pt x="2400" y="11200"/>
                  </a:cubicBezTo>
                  <a:lnTo>
                    <a:pt x="9334" y="11200"/>
                  </a:lnTo>
                  <a:cubicBezTo>
                    <a:pt x="9494" y="11200"/>
                    <a:pt x="9600" y="11093"/>
                    <a:pt x="9600" y="10933"/>
                  </a:cubicBezTo>
                  <a:lnTo>
                    <a:pt x="9600" y="267"/>
                  </a:lnTo>
                  <a:cubicBezTo>
                    <a:pt x="9600" y="107"/>
                    <a:pt x="9494" y="0"/>
                    <a:pt x="9334" y="0"/>
                  </a:cubicBezTo>
                  <a:close/>
                  <a:moveTo>
                    <a:pt x="9067" y="10667"/>
                  </a:moveTo>
                  <a:lnTo>
                    <a:pt x="2667" y="10667"/>
                  </a:lnTo>
                  <a:lnTo>
                    <a:pt x="2667" y="8533"/>
                  </a:lnTo>
                  <a:lnTo>
                    <a:pt x="9067" y="8533"/>
                  </a:lnTo>
                  <a:lnTo>
                    <a:pt x="9067" y="10667"/>
                  </a:lnTo>
                  <a:close/>
                  <a:moveTo>
                    <a:pt x="9067" y="8000"/>
                  </a:moveTo>
                  <a:lnTo>
                    <a:pt x="2667" y="8000"/>
                  </a:lnTo>
                  <a:lnTo>
                    <a:pt x="2667" y="5867"/>
                  </a:lnTo>
                  <a:lnTo>
                    <a:pt x="9067" y="5867"/>
                  </a:lnTo>
                  <a:lnTo>
                    <a:pt x="9067" y="8000"/>
                  </a:lnTo>
                  <a:close/>
                  <a:moveTo>
                    <a:pt x="9067" y="5333"/>
                  </a:moveTo>
                  <a:lnTo>
                    <a:pt x="2667" y="5333"/>
                  </a:lnTo>
                  <a:lnTo>
                    <a:pt x="2667" y="3200"/>
                  </a:lnTo>
                  <a:lnTo>
                    <a:pt x="9067" y="3200"/>
                  </a:lnTo>
                  <a:lnTo>
                    <a:pt x="9067" y="5333"/>
                  </a:lnTo>
                  <a:close/>
                  <a:moveTo>
                    <a:pt x="9067" y="2667"/>
                  </a:moveTo>
                  <a:lnTo>
                    <a:pt x="2667" y="2667"/>
                  </a:lnTo>
                  <a:lnTo>
                    <a:pt x="2667" y="533"/>
                  </a:lnTo>
                  <a:lnTo>
                    <a:pt x="9067" y="533"/>
                  </a:lnTo>
                  <a:lnTo>
                    <a:pt x="9067" y="2667"/>
                  </a:lnTo>
                  <a:close/>
                  <a:moveTo>
                    <a:pt x="0" y="2400"/>
                  </a:moveTo>
                  <a:lnTo>
                    <a:pt x="0" y="8800"/>
                  </a:lnTo>
                  <a:cubicBezTo>
                    <a:pt x="0" y="8960"/>
                    <a:pt x="107" y="9067"/>
                    <a:pt x="267" y="9067"/>
                  </a:cubicBezTo>
                  <a:lnTo>
                    <a:pt x="1600" y="9067"/>
                  </a:lnTo>
                  <a:lnTo>
                    <a:pt x="1600" y="8533"/>
                  </a:lnTo>
                  <a:lnTo>
                    <a:pt x="534" y="8533"/>
                  </a:lnTo>
                  <a:lnTo>
                    <a:pt x="534" y="7467"/>
                  </a:lnTo>
                  <a:lnTo>
                    <a:pt x="1600" y="7467"/>
                  </a:lnTo>
                  <a:lnTo>
                    <a:pt x="1600" y="6933"/>
                  </a:lnTo>
                  <a:lnTo>
                    <a:pt x="534" y="6933"/>
                  </a:lnTo>
                  <a:lnTo>
                    <a:pt x="534" y="5867"/>
                  </a:lnTo>
                  <a:lnTo>
                    <a:pt x="1600" y="5867"/>
                  </a:lnTo>
                  <a:lnTo>
                    <a:pt x="1600" y="5333"/>
                  </a:lnTo>
                  <a:lnTo>
                    <a:pt x="534" y="5333"/>
                  </a:lnTo>
                  <a:lnTo>
                    <a:pt x="534" y="4267"/>
                  </a:lnTo>
                  <a:lnTo>
                    <a:pt x="1600" y="4267"/>
                  </a:lnTo>
                  <a:lnTo>
                    <a:pt x="1600" y="3733"/>
                  </a:lnTo>
                  <a:lnTo>
                    <a:pt x="534" y="3733"/>
                  </a:lnTo>
                  <a:lnTo>
                    <a:pt x="534" y="2667"/>
                  </a:lnTo>
                  <a:lnTo>
                    <a:pt x="1600" y="2667"/>
                  </a:lnTo>
                  <a:lnTo>
                    <a:pt x="1600" y="2133"/>
                  </a:lnTo>
                  <a:lnTo>
                    <a:pt x="267" y="2133"/>
                  </a:lnTo>
                  <a:cubicBezTo>
                    <a:pt x="107" y="2133"/>
                    <a:pt x="0" y="2240"/>
                    <a:pt x="0" y="2400"/>
                  </a:cubicBezTo>
                  <a:close/>
                  <a:moveTo>
                    <a:pt x="11467" y="2133"/>
                  </a:moveTo>
                  <a:lnTo>
                    <a:pt x="10134" y="2133"/>
                  </a:lnTo>
                  <a:lnTo>
                    <a:pt x="10134" y="2667"/>
                  </a:lnTo>
                  <a:lnTo>
                    <a:pt x="11200" y="2667"/>
                  </a:lnTo>
                  <a:lnTo>
                    <a:pt x="11200" y="3733"/>
                  </a:lnTo>
                  <a:lnTo>
                    <a:pt x="10134" y="3733"/>
                  </a:lnTo>
                  <a:lnTo>
                    <a:pt x="10134" y="4267"/>
                  </a:lnTo>
                  <a:lnTo>
                    <a:pt x="11200" y="4267"/>
                  </a:lnTo>
                  <a:lnTo>
                    <a:pt x="11200" y="5333"/>
                  </a:lnTo>
                  <a:lnTo>
                    <a:pt x="10134" y="5333"/>
                  </a:lnTo>
                  <a:lnTo>
                    <a:pt x="10134" y="5867"/>
                  </a:lnTo>
                  <a:lnTo>
                    <a:pt x="11200" y="5867"/>
                  </a:lnTo>
                  <a:lnTo>
                    <a:pt x="11200" y="6933"/>
                  </a:lnTo>
                  <a:lnTo>
                    <a:pt x="10134" y="6933"/>
                  </a:lnTo>
                  <a:lnTo>
                    <a:pt x="10134" y="7467"/>
                  </a:lnTo>
                  <a:lnTo>
                    <a:pt x="11200" y="7467"/>
                  </a:lnTo>
                  <a:lnTo>
                    <a:pt x="11200" y="8533"/>
                  </a:lnTo>
                  <a:lnTo>
                    <a:pt x="10134" y="8533"/>
                  </a:lnTo>
                  <a:lnTo>
                    <a:pt x="10134" y="9067"/>
                  </a:lnTo>
                  <a:lnTo>
                    <a:pt x="11467" y="9067"/>
                  </a:lnTo>
                  <a:cubicBezTo>
                    <a:pt x="11627" y="9067"/>
                    <a:pt x="11734" y="8960"/>
                    <a:pt x="11734" y="8800"/>
                  </a:cubicBezTo>
                  <a:lnTo>
                    <a:pt x="11734" y="2400"/>
                  </a:lnTo>
                  <a:cubicBezTo>
                    <a:pt x="11734" y="2240"/>
                    <a:pt x="11627" y="2133"/>
                    <a:pt x="11467" y="2133"/>
                  </a:cubicBezTo>
                  <a:close/>
                </a:path>
              </a:pathLst>
            </a:custGeom>
            <a:solidFill>
              <a:schemeClr val="accent4"/>
            </a:solidFill>
            <a:ln w="57150" cap="rnd">
              <a:noFill/>
              <a:prstDash val="solid"/>
              <a:round/>
            </a:ln>
            <a:effectLst>
              <a:outerShdw blurRad="76200" dist="50800" dir="5400000" algn="ctr" rotWithShape="0">
                <a:schemeClr val="accent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/>
              <a:endParaRPr lang="zh-CN" altLang="en-US" sz="2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5" name="Oval 20">
              <a:extLst>
                <a:ext uri="{FF2B5EF4-FFF2-40B4-BE49-F238E27FC236}">
                  <a16:creationId xmlns="" xmlns:a16="http://schemas.microsoft.com/office/drawing/2014/main" id="{6838C36F-997A-4881-926A-4B94E10FEA78}"/>
                </a:ext>
              </a:extLst>
            </p:cNvPr>
            <p:cNvSpPr/>
            <p:nvPr/>
          </p:nvSpPr>
          <p:spPr>
            <a:xfrm>
              <a:off x="6834556" y="3059673"/>
              <a:ext cx="536657" cy="473336"/>
            </a:xfrm>
            <a:custGeom>
              <a:avLst/>
              <a:gdLst>
                <a:gd name="connsiteX0" fmla="*/ 202564 w 607639"/>
                <a:gd name="connsiteY0" fmla="*/ 444915 h 535944"/>
                <a:gd name="connsiteX1" fmla="*/ 405075 w 607639"/>
                <a:gd name="connsiteY1" fmla="*/ 444915 h 535944"/>
                <a:gd name="connsiteX2" fmla="*/ 415223 w 607639"/>
                <a:gd name="connsiteY2" fmla="*/ 455049 h 535944"/>
                <a:gd name="connsiteX3" fmla="*/ 455725 w 607639"/>
                <a:gd name="connsiteY3" fmla="*/ 515765 h 535944"/>
                <a:gd name="connsiteX4" fmla="*/ 465873 w 607639"/>
                <a:gd name="connsiteY4" fmla="*/ 525899 h 535944"/>
                <a:gd name="connsiteX5" fmla="*/ 455725 w 607639"/>
                <a:gd name="connsiteY5" fmla="*/ 535944 h 535944"/>
                <a:gd name="connsiteX6" fmla="*/ 151914 w 607639"/>
                <a:gd name="connsiteY6" fmla="*/ 535944 h 535944"/>
                <a:gd name="connsiteX7" fmla="*/ 141766 w 607639"/>
                <a:gd name="connsiteY7" fmla="*/ 525899 h 535944"/>
                <a:gd name="connsiteX8" fmla="*/ 151914 w 607639"/>
                <a:gd name="connsiteY8" fmla="*/ 515765 h 535944"/>
                <a:gd name="connsiteX9" fmla="*/ 192416 w 607639"/>
                <a:gd name="connsiteY9" fmla="*/ 455049 h 535944"/>
                <a:gd name="connsiteX10" fmla="*/ 202564 w 607639"/>
                <a:gd name="connsiteY10" fmla="*/ 444915 h 535944"/>
                <a:gd name="connsiteX11" fmla="*/ 70815 w 607639"/>
                <a:gd name="connsiteY11" fmla="*/ 60686 h 535944"/>
                <a:gd name="connsiteX12" fmla="*/ 536665 w 607639"/>
                <a:gd name="connsiteY12" fmla="*/ 60686 h 535944"/>
                <a:gd name="connsiteX13" fmla="*/ 546812 w 607639"/>
                <a:gd name="connsiteY13" fmla="*/ 70819 h 535944"/>
                <a:gd name="connsiteX14" fmla="*/ 546812 w 607639"/>
                <a:gd name="connsiteY14" fmla="*/ 353914 h 535944"/>
                <a:gd name="connsiteX15" fmla="*/ 536665 w 607639"/>
                <a:gd name="connsiteY15" fmla="*/ 364047 h 535944"/>
                <a:gd name="connsiteX16" fmla="*/ 70815 w 607639"/>
                <a:gd name="connsiteY16" fmla="*/ 364047 h 535944"/>
                <a:gd name="connsiteX17" fmla="*/ 60757 w 607639"/>
                <a:gd name="connsiteY17" fmla="*/ 353914 h 535944"/>
                <a:gd name="connsiteX18" fmla="*/ 60757 w 607639"/>
                <a:gd name="connsiteY18" fmla="*/ 70819 h 535944"/>
                <a:gd name="connsiteX19" fmla="*/ 70815 w 607639"/>
                <a:gd name="connsiteY19" fmla="*/ 60686 h 535944"/>
                <a:gd name="connsiteX20" fmla="*/ 50644 w 607639"/>
                <a:gd name="connsiteY20" fmla="*/ 40438 h 535944"/>
                <a:gd name="connsiteX21" fmla="*/ 40497 w 607639"/>
                <a:gd name="connsiteY21" fmla="*/ 50570 h 535944"/>
                <a:gd name="connsiteX22" fmla="*/ 40497 w 607639"/>
                <a:gd name="connsiteY22" fmla="*/ 374163 h 535944"/>
                <a:gd name="connsiteX23" fmla="*/ 50644 w 607639"/>
                <a:gd name="connsiteY23" fmla="*/ 384295 h 535944"/>
                <a:gd name="connsiteX24" fmla="*/ 556995 w 607639"/>
                <a:gd name="connsiteY24" fmla="*/ 384295 h 535944"/>
                <a:gd name="connsiteX25" fmla="*/ 567142 w 607639"/>
                <a:gd name="connsiteY25" fmla="*/ 374163 h 535944"/>
                <a:gd name="connsiteX26" fmla="*/ 567142 w 607639"/>
                <a:gd name="connsiteY26" fmla="*/ 50570 h 535944"/>
                <a:gd name="connsiteX27" fmla="*/ 556995 w 607639"/>
                <a:gd name="connsiteY27" fmla="*/ 40438 h 535944"/>
                <a:gd name="connsiteX28" fmla="*/ 10147 w 607639"/>
                <a:gd name="connsiteY28" fmla="*/ 0 h 535944"/>
                <a:gd name="connsiteX29" fmla="*/ 597492 w 607639"/>
                <a:gd name="connsiteY29" fmla="*/ 0 h 535944"/>
                <a:gd name="connsiteX30" fmla="*/ 607639 w 607639"/>
                <a:gd name="connsiteY30" fmla="*/ 10132 h 535944"/>
                <a:gd name="connsiteX31" fmla="*/ 607639 w 607639"/>
                <a:gd name="connsiteY31" fmla="*/ 414601 h 535944"/>
                <a:gd name="connsiteX32" fmla="*/ 597492 w 607639"/>
                <a:gd name="connsiteY32" fmla="*/ 424733 h 535944"/>
                <a:gd name="connsiteX33" fmla="*/ 10147 w 607639"/>
                <a:gd name="connsiteY33" fmla="*/ 424733 h 535944"/>
                <a:gd name="connsiteX34" fmla="*/ 0 w 607639"/>
                <a:gd name="connsiteY34" fmla="*/ 414601 h 535944"/>
                <a:gd name="connsiteX35" fmla="*/ 0 w 607639"/>
                <a:gd name="connsiteY35" fmla="*/ 10132 h 535944"/>
                <a:gd name="connsiteX36" fmla="*/ 10147 w 607639"/>
                <a:gd name="connsiteY36" fmla="*/ 0 h 5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535944">
                  <a:moveTo>
                    <a:pt x="202564" y="444915"/>
                  </a:moveTo>
                  <a:lnTo>
                    <a:pt x="405075" y="444915"/>
                  </a:lnTo>
                  <a:cubicBezTo>
                    <a:pt x="410683" y="444915"/>
                    <a:pt x="415223" y="449449"/>
                    <a:pt x="415223" y="455049"/>
                  </a:cubicBezTo>
                  <a:cubicBezTo>
                    <a:pt x="415223" y="487940"/>
                    <a:pt x="433738" y="515765"/>
                    <a:pt x="455725" y="515765"/>
                  </a:cubicBezTo>
                  <a:cubicBezTo>
                    <a:pt x="461333" y="515765"/>
                    <a:pt x="465873" y="520298"/>
                    <a:pt x="465873" y="525899"/>
                  </a:cubicBezTo>
                  <a:cubicBezTo>
                    <a:pt x="465873" y="531499"/>
                    <a:pt x="461333" y="535944"/>
                    <a:pt x="455725" y="535944"/>
                  </a:cubicBezTo>
                  <a:lnTo>
                    <a:pt x="151914" y="535944"/>
                  </a:lnTo>
                  <a:cubicBezTo>
                    <a:pt x="146306" y="535944"/>
                    <a:pt x="141766" y="531499"/>
                    <a:pt x="141766" y="525899"/>
                  </a:cubicBezTo>
                  <a:cubicBezTo>
                    <a:pt x="141766" y="520298"/>
                    <a:pt x="146306" y="515765"/>
                    <a:pt x="151914" y="515765"/>
                  </a:cubicBezTo>
                  <a:cubicBezTo>
                    <a:pt x="173812" y="515765"/>
                    <a:pt x="192416" y="487940"/>
                    <a:pt x="192416" y="455049"/>
                  </a:cubicBezTo>
                  <a:cubicBezTo>
                    <a:pt x="192416" y="449449"/>
                    <a:pt x="196956" y="444915"/>
                    <a:pt x="202564" y="444915"/>
                  </a:cubicBezTo>
                  <a:close/>
                  <a:moveTo>
                    <a:pt x="70815" y="60686"/>
                  </a:moveTo>
                  <a:lnTo>
                    <a:pt x="536665" y="60686"/>
                  </a:lnTo>
                  <a:cubicBezTo>
                    <a:pt x="542273" y="60686"/>
                    <a:pt x="546812" y="65219"/>
                    <a:pt x="546812" y="70819"/>
                  </a:cubicBezTo>
                  <a:lnTo>
                    <a:pt x="546812" y="353914"/>
                  </a:lnTo>
                  <a:cubicBezTo>
                    <a:pt x="546812" y="359514"/>
                    <a:pt x="542273" y="364047"/>
                    <a:pt x="536665" y="364047"/>
                  </a:cubicBezTo>
                  <a:lnTo>
                    <a:pt x="70815" y="364047"/>
                  </a:lnTo>
                  <a:cubicBezTo>
                    <a:pt x="65296" y="364047"/>
                    <a:pt x="60757" y="359514"/>
                    <a:pt x="60757" y="353914"/>
                  </a:cubicBezTo>
                  <a:lnTo>
                    <a:pt x="60757" y="70819"/>
                  </a:lnTo>
                  <a:cubicBezTo>
                    <a:pt x="60757" y="65219"/>
                    <a:pt x="65296" y="60686"/>
                    <a:pt x="70815" y="60686"/>
                  </a:cubicBezTo>
                  <a:close/>
                  <a:moveTo>
                    <a:pt x="50644" y="40438"/>
                  </a:moveTo>
                  <a:cubicBezTo>
                    <a:pt x="45037" y="40438"/>
                    <a:pt x="40497" y="44971"/>
                    <a:pt x="40497" y="50570"/>
                  </a:cubicBezTo>
                  <a:lnTo>
                    <a:pt x="40497" y="374163"/>
                  </a:lnTo>
                  <a:cubicBezTo>
                    <a:pt x="40497" y="379762"/>
                    <a:pt x="45037" y="384295"/>
                    <a:pt x="50644" y="384295"/>
                  </a:cubicBezTo>
                  <a:lnTo>
                    <a:pt x="556995" y="384295"/>
                  </a:lnTo>
                  <a:cubicBezTo>
                    <a:pt x="562602" y="384295"/>
                    <a:pt x="567142" y="379762"/>
                    <a:pt x="567142" y="374163"/>
                  </a:cubicBezTo>
                  <a:lnTo>
                    <a:pt x="567142" y="50570"/>
                  </a:lnTo>
                  <a:cubicBezTo>
                    <a:pt x="567142" y="44971"/>
                    <a:pt x="562602" y="40438"/>
                    <a:pt x="556995" y="40438"/>
                  </a:cubicBezTo>
                  <a:close/>
                  <a:moveTo>
                    <a:pt x="10147" y="0"/>
                  </a:moveTo>
                  <a:lnTo>
                    <a:pt x="597492" y="0"/>
                  </a:lnTo>
                  <a:cubicBezTo>
                    <a:pt x="603100" y="0"/>
                    <a:pt x="607639" y="4533"/>
                    <a:pt x="607639" y="10132"/>
                  </a:cubicBezTo>
                  <a:lnTo>
                    <a:pt x="607639" y="414601"/>
                  </a:lnTo>
                  <a:cubicBezTo>
                    <a:pt x="607639" y="420200"/>
                    <a:pt x="603100" y="424733"/>
                    <a:pt x="597492" y="424733"/>
                  </a:cubicBezTo>
                  <a:lnTo>
                    <a:pt x="10147" y="424733"/>
                  </a:lnTo>
                  <a:cubicBezTo>
                    <a:pt x="4539" y="424733"/>
                    <a:pt x="0" y="420200"/>
                    <a:pt x="0" y="414601"/>
                  </a:cubicBezTo>
                  <a:lnTo>
                    <a:pt x="0" y="10132"/>
                  </a:lnTo>
                  <a:cubicBezTo>
                    <a:pt x="0" y="4533"/>
                    <a:pt x="4539" y="0"/>
                    <a:pt x="10147" y="0"/>
                  </a:cubicBezTo>
                  <a:close/>
                </a:path>
              </a:pathLst>
            </a:custGeom>
            <a:solidFill>
              <a:schemeClr val="accent4"/>
            </a:solidFill>
            <a:ln w="57150" cap="rnd">
              <a:noFill/>
              <a:prstDash val="solid"/>
              <a:round/>
            </a:ln>
            <a:effectLst>
              <a:outerShdw blurRad="76200" dist="50800" dir="5400000" algn="ctr" rotWithShape="0">
                <a:schemeClr val="accent3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/>
              <a:endParaRPr lang="zh-CN" altLang="en-US" sz="2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6" name="Oval 18">
              <a:extLst>
                <a:ext uri="{FF2B5EF4-FFF2-40B4-BE49-F238E27FC236}">
                  <a16:creationId xmlns="" xmlns:a16="http://schemas.microsoft.com/office/drawing/2014/main" id="{C74555FA-42E2-4520-BFC3-5406731AD827}"/>
                </a:ext>
              </a:extLst>
            </p:cNvPr>
            <p:cNvSpPr/>
            <p:nvPr/>
          </p:nvSpPr>
          <p:spPr>
            <a:xfrm>
              <a:off x="5827257" y="4638507"/>
              <a:ext cx="537486" cy="536588"/>
            </a:xfrm>
            <a:custGeom>
              <a:avLst/>
              <a:gdLst>
                <a:gd name="connsiteX0" fmla="*/ 61742 w 607352"/>
                <a:gd name="connsiteY0" fmla="*/ 429777 h 606338"/>
                <a:gd name="connsiteX1" fmla="*/ 210460 w 607352"/>
                <a:gd name="connsiteY1" fmla="*/ 429777 h 606338"/>
                <a:gd name="connsiteX2" fmla="*/ 167685 w 607352"/>
                <a:gd name="connsiteY2" fmla="*/ 472486 h 606338"/>
                <a:gd name="connsiteX3" fmla="*/ 376684 w 607352"/>
                <a:gd name="connsiteY3" fmla="*/ 501590 h 606338"/>
                <a:gd name="connsiteX4" fmla="*/ 413863 w 607352"/>
                <a:gd name="connsiteY4" fmla="*/ 579890 h 606338"/>
                <a:gd name="connsiteX5" fmla="*/ 105960 w 607352"/>
                <a:gd name="connsiteY5" fmla="*/ 534027 h 606338"/>
                <a:gd name="connsiteX6" fmla="*/ 61742 w 607352"/>
                <a:gd name="connsiteY6" fmla="*/ 578268 h 606338"/>
                <a:gd name="connsiteX7" fmla="*/ 580935 w 607352"/>
                <a:gd name="connsiteY7" fmla="*/ 193171 h 606338"/>
                <a:gd name="connsiteX8" fmla="*/ 534916 w 607352"/>
                <a:gd name="connsiteY8" fmla="*/ 500491 h 606338"/>
                <a:gd name="connsiteX9" fmla="*/ 579221 w 607352"/>
                <a:gd name="connsiteY9" fmla="*/ 544728 h 606338"/>
                <a:gd name="connsiteX10" fmla="*/ 430516 w 607352"/>
                <a:gd name="connsiteY10" fmla="*/ 544728 h 606338"/>
                <a:gd name="connsiteX11" fmla="*/ 430516 w 607352"/>
                <a:gd name="connsiteY11" fmla="*/ 396249 h 606338"/>
                <a:gd name="connsiteX12" fmla="*/ 473197 w 607352"/>
                <a:gd name="connsiteY12" fmla="*/ 438865 h 606338"/>
                <a:gd name="connsiteX13" fmla="*/ 502432 w 607352"/>
                <a:gd name="connsiteY13" fmla="*/ 230291 h 606338"/>
                <a:gd name="connsiteX14" fmla="*/ 303640 w 607352"/>
                <a:gd name="connsiteY14" fmla="*/ 184492 h 606338"/>
                <a:gd name="connsiteX15" fmla="*/ 422472 w 607352"/>
                <a:gd name="connsiteY15" fmla="*/ 303113 h 606338"/>
                <a:gd name="connsiteX16" fmla="*/ 303640 w 607352"/>
                <a:gd name="connsiteY16" fmla="*/ 421734 h 606338"/>
                <a:gd name="connsiteX17" fmla="*/ 184808 w 607352"/>
                <a:gd name="connsiteY17" fmla="*/ 303113 h 606338"/>
                <a:gd name="connsiteX18" fmla="*/ 303640 w 607352"/>
                <a:gd name="connsiteY18" fmla="*/ 184492 h 606338"/>
                <a:gd name="connsiteX19" fmla="*/ 28146 w 607352"/>
                <a:gd name="connsiteY19" fmla="*/ 61567 h 606338"/>
                <a:gd name="connsiteX20" fmla="*/ 176904 w 607352"/>
                <a:gd name="connsiteY20" fmla="*/ 61567 h 606338"/>
                <a:gd name="connsiteX21" fmla="*/ 176904 w 607352"/>
                <a:gd name="connsiteY21" fmla="*/ 210076 h 606338"/>
                <a:gd name="connsiteX22" fmla="*/ 134118 w 607352"/>
                <a:gd name="connsiteY22" fmla="*/ 167361 h 606338"/>
                <a:gd name="connsiteX23" fmla="*/ 104872 w 607352"/>
                <a:gd name="connsiteY23" fmla="*/ 376067 h 606338"/>
                <a:gd name="connsiteX24" fmla="*/ 26431 w 607352"/>
                <a:gd name="connsiteY24" fmla="*/ 413194 h 606338"/>
                <a:gd name="connsiteX25" fmla="*/ 72376 w 607352"/>
                <a:gd name="connsiteY25" fmla="*/ 105723 h 606338"/>
                <a:gd name="connsiteX26" fmla="*/ 352808 w 607352"/>
                <a:gd name="connsiteY26" fmla="*/ 2822 h 606338"/>
                <a:gd name="connsiteX27" fmla="*/ 501300 w 607352"/>
                <a:gd name="connsiteY27" fmla="*/ 72247 h 606338"/>
                <a:gd name="connsiteX28" fmla="*/ 545608 w 607352"/>
                <a:gd name="connsiteY28" fmla="*/ 28097 h 606338"/>
                <a:gd name="connsiteX29" fmla="*/ 545608 w 607352"/>
                <a:gd name="connsiteY29" fmla="*/ 176588 h 606338"/>
                <a:gd name="connsiteX30" fmla="*/ 396891 w 607352"/>
                <a:gd name="connsiteY30" fmla="*/ 176588 h 606338"/>
                <a:gd name="connsiteX31" fmla="*/ 439575 w 607352"/>
                <a:gd name="connsiteY31" fmla="*/ 133879 h 606338"/>
                <a:gd name="connsiteX32" fmla="*/ 230667 w 607352"/>
                <a:gd name="connsiteY32" fmla="*/ 104685 h 606338"/>
                <a:gd name="connsiteX33" fmla="*/ 193487 w 607352"/>
                <a:gd name="connsiteY33" fmla="*/ 26385 h 606338"/>
                <a:gd name="connsiteX34" fmla="*/ 352808 w 607352"/>
                <a:gd name="connsiteY34" fmla="*/ 2822 h 606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07352" h="606338">
                  <a:moveTo>
                    <a:pt x="61742" y="429777"/>
                  </a:moveTo>
                  <a:lnTo>
                    <a:pt x="210460" y="429777"/>
                  </a:lnTo>
                  <a:lnTo>
                    <a:pt x="167685" y="472486"/>
                  </a:lnTo>
                  <a:cubicBezTo>
                    <a:pt x="226703" y="523305"/>
                    <a:pt x="308823" y="533036"/>
                    <a:pt x="376684" y="501590"/>
                  </a:cubicBezTo>
                  <a:lnTo>
                    <a:pt x="413863" y="579890"/>
                  </a:lnTo>
                  <a:cubicBezTo>
                    <a:pt x="313696" y="626654"/>
                    <a:pt x="191599" y="611427"/>
                    <a:pt x="105960" y="534027"/>
                  </a:cubicBezTo>
                  <a:lnTo>
                    <a:pt x="61742" y="578268"/>
                  </a:lnTo>
                  <a:close/>
                  <a:moveTo>
                    <a:pt x="580935" y="193171"/>
                  </a:moveTo>
                  <a:cubicBezTo>
                    <a:pt x="627676" y="293088"/>
                    <a:pt x="612427" y="414989"/>
                    <a:pt x="534916" y="500491"/>
                  </a:cubicBezTo>
                  <a:lnTo>
                    <a:pt x="579221" y="544728"/>
                  </a:lnTo>
                  <a:lnTo>
                    <a:pt x="430516" y="544728"/>
                  </a:lnTo>
                  <a:lnTo>
                    <a:pt x="430516" y="396249"/>
                  </a:lnTo>
                  <a:lnTo>
                    <a:pt x="473197" y="438865"/>
                  </a:lnTo>
                  <a:cubicBezTo>
                    <a:pt x="524179" y="380032"/>
                    <a:pt x="533834" y="298044"/>
                    <a:pt x="502432" y="230291"/>
                  </a:cubicBezTo>
                  <a:close/>
                  <a:moveTo>
                    <a:pt x="303640" y="184492"/>
                  </a:moveTo>
                  <a:cubicBezTo>
                    <a:pt x="369269" y="184492"/>
                    <a:pt x="422472" y="237600"/>
                    <a:pt x="422472" y="303113"/>
                  </a:cubicBezTo>
                  <a:cubicBezTo>
                    <a:pt x="422472" y="368626"/>
                    <a:pt x="369269" y="421734"/>
                    <a:pt x="303640" y="421734"/>
                  </a:cubicBezTo>
                  <a:cubicBezTo>
                    <a:pt x="238011" y="421734"/>
                    <a:pt x="184808" y="368626"/>
                    <a:pt x="184808" y="303113"/>
                  </a:cubicBezTo>
                  <a:cubicBezTo>
                    <a:pt x="184808" y="237600"/>
                    <a:pt x="238011" y="184492"/>
                    <a:pt x="303640" y="184492"/>
                  </a:cubicBezTo>
                  <a:close/>
                  <a:moveTo>
                    <a:pt x="28146" y="61567"/>
                  </a:moveTo>
                  <a:lnTo>
                    <a:pt x="176904" y="61567"/>
                  </a:lnTo>
                  <a:lnTo>
                    <a:pt x="176904" y="210076"/>
                  </a:lnTo>
                  <a:lnTo>
                    <a:pt x="134118" y="167361"/>
                  </a:lnTo>
                  <a:cubicBezTo>
                    <a:pt x="83118" y="226297"/>
                    <a:pt x="73460" y="308301"/>
                    <a:pt x="104872" y="376067"/>
                  </a:cubicBezTo>
                  <a:lnTo>
                    <a:pt x="26431" y="413194"/>
                  </a:lnTo>
                  <a:cubicBezTo>
                    <a:pt x="-20326" y="313257"/>
                    <a:pt x="-5071" y="191332"/>
                    <a:pt x="72376" y="105723"/>
                  </a:cubicBezTo>
                  <a:close/>
                  <a:moveTo>
                    <a:pt x="352808" y="2822"/>
                  </a:moveTo>
                  <a:cubicBezTo>
                    <a:pt x="406547" y="10459"/>
                    <a:pt x="458480" y="33593"/>
                    <a:pt x="501300" y="72247"/>
                  </a:cubicBezTo>
                  <a:lnTo>
                    <a:pt x="545608" y="28097"/>
                  </a:lnTo>
                  <a:lnTo>
                    <a:pt x="545608" y="176588"/>
                  </a:lnTo>
                  <a:lnTo>
                    <a:pt x="396891" y="176588"/>
                  </a:lnTo>
                  <a:lnTo>
                    <a:pt x="439575" y="133879"/>
                  </a:lnTo>
                  <a:cubicBezTo>
                    <a:pt x="380647" y="82970"/>
                    <a:pt x="298528" y="73329"/>
                    <a:pt x="230667" y="104685"/>
                  </a:cubicBezTo>
                  <a:lnTo>
                    <a:pt x="193487" y="26385"/>
                  </a:lnTo>
                  <a:cubicBezTo>
                    <a:pt x="243526" y="3048"/>
                    <a:pt x="299069" y="-4814"/>
                    <a:pt x="352808" y="2822"/>
                  </a:cubicBezTo>
                  <a:close/>
                </a:path>
              </a:pathLst>
            </a:custGeom>
            <a:solidFill>
              <a:schemeClr val="accent4"/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/>
              <a:endParaRPr lang="zh-CN" altLang="en-US" sz="2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="" xmlns:a16="http://schemas.microsoft.com/office/drawing/2014/main" id="{B41572E5-49D0-4C34-9F6D-732EE510B27E}"/>
                </a:ext>
              </a:extLst>
            </p:cNvPr>
            <p:cNvSpPr/>
            <p:nvPr/>
          </p:nvSpPr>
          <p:spPr>
            <a:xfrm>
              <a:off x="5430005" y="2898379"/>
              <a:ext cx="1332000" cy="133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7C758F11-7E3B-424C-A3AC-78A74E46B5B1}"/>
                </a:ext>
              </a:extLst>
            </p:cNvPr>
            <p:cNvSpPr txBox="1"/>
            <p:nvPr/>
          </p:nvSpPr>
          <p:spPr>
            <a:xfrm>
              <a:off x="5393729" y="3204520"/>
              <a:ext cx="1404552" cy="719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x-none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eats</a:t>
              </a:r>
            </a:p>
            <a:p>
              <a:pPr algn="ctr"/>
              <a:r>
                <a:rPr lang="x-none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ulnerabilities</a:t>
              </a:r>
            </a:p>
            <a:p>
              <a:pPr algn="ctr"/>
              <a:r>
                <a:rPr lang="x-none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ets Value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43A15875-7EE4-4810-9298-D2D93DE605AB}"/>
              </a:ext>
            </a:extLst>
          </p:cNvPr>
          <p:cNvSpPr txBox="1"/>
          <p:nvPr/>
        </p:nvSpPr>
        <p:spPr>
          <a:xfrm>
            <a:off x="8112125" y="3274384"/>
            <a:ext cx="2607360" cy="2072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Endpoint</a:t>
            </a:r>
            <a:r>
              <a:rPr lang="x-none" sz="1200" b="1" dirty="0">
                <a:latin typeface="Arial" panose="020B0604020202020204" pitchFamily="34" charset="0"/>
                <a:cs typeface="Arial" panose="020B0604020202020204" pitchFamily="34" charset="0"/>
              </a:rPr>
              <a:t> risk overview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Total risks/</a:t>
            </a:r>
            <a:r>
              <a:rPr lang="x-none" sz="1200">
                <a:latin typeface="Arial" panose="020B0604020202020204" pitchFamily="34" charset="0"/>
                <a:cs typeface="Arial" panose="020B0604020202020204" pitchFamily="34" charset="0"/>
              </a:rPr>
              <a:t>distributions/tren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x-non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Threat </a:t>
            </a:r>
            <a:r>
              <a:rPr lang="x-none" sz="1200">
                <a:latin typeface="Arial" panose="020B0604020202020204" pitchFamily="34" charset="0"/>
                <a:cs typeface="Arial" panose="020B0604020202020204" pitchFamily="34" charset="0"/>
              </a:rPr>
              <a:t>distribution/tren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x-non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x-none" sz="1200">
                <a:latin typeface="Arial" panose="020B0604020202020204" pitchFamily="34" charset="0"/>
                <a:cs typeface="Arial" panose="020B0604020202020204" pitchFamily="34" charset="0"/>
              </a:rPr>
              <a:t>Vulnerabili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x-none" sz="1200">
                <a:latin typeface="Arial" panose="020B0604020202020204" pitchFamily="34" charset="0"/>
                <a:cs typeface="Arial" panose="020B0604020202020204" pitchFamily="34" charset="0"/>
              </a:rPr>
              <a:t> distribution/tren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x-non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x-none" sz="1200" b="1" dirty="0">
                <a:latin typeface="Arial" panose="020B0604020202020204" pitchFamily="34" charset="0"/>
                <a:cs typeface="Arial" panose="020B0604020202020204" pitchFamily="34" charset="0"/>
              </a:rPr>
              <a:t>Endpoint(s) risk detail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x-none" sz="1200">
                <a:latin typeface="Arial" panose="020B0604020202020204" pitchFamily="34" charset="0"/>
                <a:cs typeface="Arial" panose="020B0604020202020204" pitchFamily="34" charset="0"/>
              </a:rPr>
              <a:t>isk repor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x-non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ulnerabiliti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hreat event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port of compromised assets</a:t>
            </a:r>
            <a:endParaRPr lang="x-non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DACE5371-CF3C-48DC-8B3F-D451638CDE7E}"/>
              </a:ext>
            </a:extLst>
          </p:cNvPr>
          <p:cNvSpPr txBox="1"/>
          <p:nvPr/>
        </p:nvSpPr>
        <p:spPr>
          <a:xfrm>
            <a:off x="1663736" y="3274384"/>
            <a:ext cx="2400836" cy="2072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x-none" sz="1200" b="1" dirty="0">
                <a:latin typeface="Arial" panose="020B0604020202020204" pitchFamily="34" charset="0"/>
                <a:cs typeface="Arial" panose="020B0604020202020204" pitchFamily="34" charset="0"/>
              </a:rPr>
              <a:t>erver risk overview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Total risks/distributions/tren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x-non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Threat distribution/tren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x-non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Vulnerabilities distribution/ trend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x-none" sz="1200" b="1" dirty="0">
                <a:latin typeface="Arial" panose="020B0604020202020204" pitchFamily="34" charset="0"/>
                <a:cs typeface="Arial" panose="020B0604020202020204" pitchFamily="34" charset="0"/>
              </a:rPr>
              <a:t>Server(s) risk detail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i</a:t>
            </a: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sk repor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x-non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ulnerabiliti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hreat event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port of compromised assets</a:t>
            </a:r>
            <a:endParaRPr lang="x-non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F099459F-1B31-4CA5-8CA8-7218E002063C}"/>
              </a:ext>
            </a:extLst>
          </p:cNvPr>
          <p:cNvSpPr txBox="1"/>
          <p:nvPr/>
        </p:nvSpPr>
        <p:spPr>
          <a:xfrm>
            <a:off x="5240008" y="5637733"/>
            <a:ext cx="17309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x-none" sz="1200">
                <a:latin typeface="Arial" panose="020B0604020202020204" pitchFamily="34" charset="0"/>
                <a:cs typeface="Arial" panose="020B0604020202020204" pitchFamily="34" charset="0"/>
              </a:rPr>
              <a:t>Service </a:t>
            </a: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risk overvie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Service risk detai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DF2BC33E-81F3-4BA2-99BA-4450FC5396FE}"/>
              </a:ext>
            </a:extLst>
          </p:cNvPr>
          <p:cNvSpPr/>
          <p:nvPr/>
        </p:nvSpPr>
        <p:spPr>
          <a:xfrm>
            <a:off x="5280115" y="5217215"/>
            <a:ext cx="1631771" cy="289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ervice Risk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645AB635-71C6-45BF-9195-85A5A5224FE3}"/>
              </a:ext>
            </a:extLst>
          </p:cNvPr>
          <p:cNvSpPr/>
          <p:nvPr/>
        </p:nvSpPr>
        <p:spPr>
          <a:xfrm>
            <a:off x="1663736" y="2819346"/>
            <a:ext cx="2400836" cy="289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erver Risk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7FE327D7-F8A2-464B-947F-C932D8F4F3AB}"/>
              </a:ext>
            </a:extLst>
          </p:cNvPr>
          <p:cNvSpPr/>
          <p:nvPr/>
        </p:nvSpPr>
        <p:spPr>
          <a:xfrm>
            <a:off x="8112125" y="2819346"/>
            <a:ext cx="2400836" cy="289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Endpoint Risks</a:t>
            </a:r>
          </a:p>
        </p:txBody>
      </p:sp>
    </p:spTree>
    <p:extLst>
      <p:ext uri="{BB962C8B-B14F-4D97-AF65-F5344CB8AC3E}">
        <p14:creationId xmlns:p14="http://schemas.microsoft.com/office/powerpoint/2010/main" val="39162322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="" xmlns:a16="http://schemas.microsoft.com/office/drawing/2014/main" id="{96C63C2D-F68C-49A5-9615-BD347E8255F5}"/>
              </a:ext>
            </a:extLst>
          </p:cNvPr>
          <p:cNvGrpSpPr/>
          <p:nvPr/>
        </p:nvGrpSpPr>
        <p:grpSpPr>
          <a:xfrm>
            <a:off x="6096000" y="3842641"/>
            <a:ext cx="5508550" cy="2339451"/>
            <a:chOff x="6115127" y="3538928"/>
            <a:chExt cx="5604944" cy="394326"/>
          </a:xfrm>
          <a:solidFill>
            <a:schemeClr val="bg1">
              <a:lumMod val="95000"/>
            </a:schemeClr>
          </a:solidFill>
        </p:grpSpPr>
        <p:sp>
          <p:nvSpPr>
            <p:cNvPr id="57" name="矩形 20">
              <a:extLst>
                <a:ext uri="{FF2B5EF4-FFF2-40B4-BE49-F238E27FC236}">
                  <a16:creationId xmlns="" xmlns:a16="http://schemas.microsoft.com/office/drawing/2014/main" id="{2C520E14-E61A-4223-8200-E21467549B91}"/>
                </a:ext>
              </a:extLst>
            </p:cNvPr>
            <p:cNvSpPr/>
            <p:nvPr/>
          </p:nvSpPr>
          <p:spPr>
            <a:xfrm>
              <a:off x="6115127" y="3538928"/>
              <a:ext cx="1791689" cy="394326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/>
              <a:endParaRPr kumimoji="1"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58" name="矩形 21">
              <a:extLst>
                <a:ext uri="{FF2B5EF4-FFF2-40B4-BE49-F238E27FC236}">
                  <a16:creationId xmlns="" xmlns:a16="http://schemas.microsoft.com/office/drawing/2014/main" id="{FA9EFF1F-61EF-4815-8205-0F3427B42E4C}"/>
                </a:ext>
              </a:extLst>
            </p:cNvPr>
            <p:cNvSpPr/>
            <p:nvPr/>
          </p:nvSpPr>
          <p:spPr>
            <a:xfrm>
              <a:off x="9928382" y="3538928"/>
              <a:ext cx="1791689" cy="394326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/>
              <a:endParaRPr kumimoji="1"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59" name="矩形 21">
              <a:extLst>
                <a:ext uri="{FF2B5EF4-FFF2-40B4-BE49-F238E27FC236}">
                  <a16:creationId xmlns="" xmlns:a16="http://schemas.microsoft.com/office/drawing/2014/main" id="{BDBC50B5-DCA8-40A5-93EB-0EB5E3AED8A0}"/>
                </a:ext>
              </a:extLst>
            </p:cNvPr>
            <p:cNvSpPr/>
            <p:nvPr/>
          </p:nvSpPr>
          <p:spPr>
            <a:xfrm>
              <a:off x="8021755" y="3538928"/>
              <a:ext cx="1791689" cy="394326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/>
              <a:endParaRPr kumimoji="1"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"/>
              </a:rPr>
              <a:t>Assets Management</a:t>
            </a:r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4F50B842-1D63-487B-9F30-827A92DE5CE1}"/>
              </a:ext>
            </a:extLst>
          </p:cNvPr>
          <p:cNvSpPr/>
          <p:nvPr/>
        </p:nvSpPr>
        <p:spPr>
          <a:xfrm>
            <a:off x="587375" y="1330664"/>
            <a:ext cx="4873598" cy="49752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文本框 29">
            <a:extLst>
              <a:ext uri="{FF2B5EF4-FFF2-40B4-BE49-F238E27FC236}">
                <a16:creationId xmlns="" xmlns:a16="http://schemas.microsoft.com/office/drawing/2014/main" id="{6F960EAA-1A0C-4A11-9BB6-9B91FAA6BC0F}"/>
              </a:ext>
            </a:extLst>
          </p:cNvPr>
          <p:cNvSpPr txBox="1"/>
          <p:nvPr/>
        </p:nvSpPr>
        <p:spPr>
          <a:xfrm>
            <a:off x="6279359" y="4319899"/>
            <a:ext cx="142223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CN" sz="1100" b="1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Discover assets via: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FC48AAA0-A96B-4C3A-872D-3F6C4C5BCDD8}"/>
              </a:ext>
            </a:extLst>
          </p:cNvPr>
          <p:cNvGrpSpPr/>
          <p:nvPr/>
        </p:nvGrpSpPr>
        <p:grpSpPr>
          <a:xfrm>
            <a:off x="6096001" y="3643703"/>
            <a:ext cx="5508550" cy="503294"/>
            <a:chOff x="6115127" y="3538928"/>
            <a:chExt cx="5604944" cy="394326"/>
          </a:xfrm>
        </p:grpSpPr>
        <p:sp>
          <p:nvSpPr>
            <p:cNvPr id="48" name="矩形 20">
              <a:extLst>
                <a:ext uri="{FF2B5EF4-FFF2-40B4-BE49-F238E27FC236}">
                  <a16:creationId xmlns="" xmlns:a16="http://schemas.microsoft.com/office/drawing/2014/main" id="{5460AED6-8869-437F-924A-5746093BE729}"/>
                </a:ext>
              </a:extLst>
            </p:cNvPr>
            <p:cNvSpPr/>
            <p:nvPr/>
          </p:nvSpPr>
          <p:spPr>
            <a:xfrm>
              <a:off x="6115127" y="3538928"/>
              <a:ext cx="1791689" cy="394326"/>
            </a:xfrm>
            <a:prstGeom prst="rect">
              <a:avLst/>
            </a:prstGeom>
            <a:solidFill>
              <a:srgbClr val="00307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/>
              <a:r>
                <a:rPr kumimoji="1" lang="en-US" altLang="zh-CN" sz="14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sset Discovery</a:t>
              </a:r>
              <a:endParaRPr kumimoji="1"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9" name="矩形 21">
              <a:extLst>
                <a:ext uri="{FF2B5EF4-FFF2-40B4-BE49-F238E27FC236}">
                  <a16:creationId xmlns="" xmlns:a16="http://schemas.microsoft.com/office/drawing/2014/main" id="{B51B2354-829B-4DD2-98F5-FD79460B0F7D}"/>
                </a:ext>
              </a:extLst>
            </p:cNvPr>
            <p:cNvSpPr/>
            <p:nvPr/>
          </p:nvSpPr>
          <p:spPr>
            <a:xfrm>
              <a:off x="9928382" y="3538928"/>
              <a:ext cx="1791689" cy="388454"/>
            </a:xfrm>
            <a:prstGeom prst="rect">
              <a:avLst/>
            </a:prstGeom>
            <a:solidFill>
              <a:srgbClr val="00307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/>
              <a:r>
                <a:rPr kumimoji="1" lang="en-US" altLang="zh-CN" sz="14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 </a:t>
              </a:r>
              <a:r>
                <a:rPr kumimoji="1" lang="en-US" altLang="zh-CN" sz="14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Lifecycle Management</a:t>
              </a:r>
              <a:endParaRPr kumimoji="1"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52" name="矩形 21">
              <a:extLst>
                <a:ext uri="{FF2B5EF4-FFF2-40B4-BE49-F238E27FC236}">
                  <a16:creationId xmlns="" xmlns:a16="http://schemas.microsoft.com/office/drawing/2014/main" id="{F5C81E24-0399-45B5-9666-684B183748B9}"/>
                </a:ext>
              </a:extLst>
            </p:cNvPr>
            <p:cNvSpPr/>
            <p:nvPr/>
          </p:nvSpPr>
          <p:spPr>
            <a:xfrm>
              <a:off x="8021755" y="3538928"/>
              <a:ext cx="1791689" cy="388454"/>
            </a:xfrm>
            <a:prstGeom prst="rect">
              <a:avLst/>
            </a:prstGeom>
            <a:solidFill>
              <a:srgbClr val="00307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/>
              <a:r>
                <a:rPr kumimoji="1" lang="en-US" altLang="zh-CN" sz="14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Grouping</a:t>
              </a:r>
              <a:endParaRPr kumimoji="1"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</p:grpSp>
      <p:sp>
        <p:nvSpPr>
          <p:cNvPr id="60" name="文本框 29">
            <a:extLst>
              <a:ext uri="{FF2B5EF4-FFF2-40B4-BE49-F238E27FC236}">
                <a16:creationId xmlns="" xmlns:a16="http://schemas.microsoft.com/office/drawing/2014/main" id="{B5FFC8B4-2AD7-40AB-85D3-FBCA8590367F}"/>
              </a:ext>
            </a:extLst>
          </p:cNvPr>
          <p:cNvSpPr txBox="1"/>
          <p:nvPr/>
        </p:nvSpPr>
        <p:spPr>
          <a:xfrm>
            <a:off x="6279359" y="4574333"/>
            <a:ext cx="1422239" cy="12721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288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raffic</a:t>
            </a:r>
          </a:p>
          <a:p>
            <a:pPr marL="18288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Logs</a:t>
            </a:r>
          </a:p>
          <a:p>
            <a:pPr marL="18288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hreat events</a:t>
            </a:r>
          </a:p>
          <a:p>
            <a:pPr marL="18288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Vulnerability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</a:t>
            </a:r>
            <a:r>
              <a:rPr lang="en-US" altLang="zh-CN" sz="1100" dirty="0" smtClean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report</a:t>
            </a:r>
          </a:p>
          <a:p>
            <a:pPr marL="18288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Manual import</a:t>
            </a:r>
          </a:p>
          <a:p>
            <a:pPr marL="18288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ctive scan</a:t>
            </a:r>
            <a:endParaRPr lang="en-US" altLang="zh-CN" sz="1100" dirty="0">
              <a:effectLst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61" name="文本框 29">
            <a:extLst>
              <a:ext uri="{FF2B5EF4-FFF2-40B4-BE49-F238E27FC236}">
                <a16:creationId xmlns="" xmlns:a16="http://schemas.microsoft.com/office/drawing/2014/main" id="{F516F410-F730-4448-99DC-0440261B890E}"/>
              </a:ext>
            </a:extLst>
          </p:cNvPr>
          <p:cNvSpPr txBox="1"/>
          <p:nvPr/>
        </p:nvSpPr>
        <p:spPr>
          <a:xfrm>
            <a:off x="8169295" y="4320796"/>
            <a:ext cx="142223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100" b="1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Grouping </a:t>
            </a:r>
            <a:r>
              <a:rPr lang="en-US" altLang="zh-CN" sz="1100" b="1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s</a:t>
            </a:r>
            <a:r>
              <a:rPr lang="en-US" altLang="zh-CN" sz="1100" b="1" dirty="0" smtClean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:</a:t>
            </a:r>
            <a:endParaRPr lang="en-US" altLang="zh-CN" sz="1100" b="1" dirty="0">
              <a:effectLst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62" name="文本框 29">
            <a:extLst>
              <a:ext uri="{FF2B5EF4-FFF2-40B4-BE49-F238E27FC236}">
                <a16:creationId xmlns="" xmlns:a16="http://schemas.microsoft.com/office/drawing/2014/main" id="{295B5EA5-4A1D-46AA-BD42-F6DA9AC5603B}"/>
              </a:ext>
            </a:extLst>
          </p:cNvPr>
          <p:cNvSpPr txBox="1"/>
          <p:nvPr/>
        </p:nvSpPr>
        <p:spPr>
          <a:xfrm>
            <a:off x="8169295" y="4575230"/>
            <a:ext cx="1422239" cy="105157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3716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ervers</a:t>
            </a:r>
            <a:endParaRPr lang="en-US" altLang="zh-CN" sz="11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  <a:p>
            <a:pPr marL="13716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Endpoints</a:t>
            </a:r>
          </a:p>
          <a:p>
            <a:pPr marL="13716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Network devices</a:t>
            </a:r>
          </a:p>
          <a:p>
            <a:pPr marL="13716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ecurity devices</a:t>
            </a:r>
          </a:p>
          <a:p>
            <a:pPr marL="13716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Others</a:t>
            </a:r>
            <a:endParaRPr lang="en-US" altLang="zh-CN" sz="1100" dirty="0">
              <a:effectLst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64" name="文本框 29">
            <a:extLst>
              <a:ext uri="{FF2B5EF4-FFF2-40B4-BE49-F238E27FC236}">
                <a16:creationId xmlns="" xmlns:a16="http://schemas.microsoft.com/office/drawing/2014/main" id="{9D998E14-ED96-43F0-A0D7-09F534365FC3}"/>
              </a:ext>
            </a:extLst>
          </p:cNvPr>
          <p:cNvSpPr txBox="1"/>
          <p:nvPr/>
        </p:nvSpPr>
        <p:spPr>
          <a:xfrm>
            <a:off x="10009473" y="4575230"/>
            <a:ext cx="1330375" cy="7797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37160" indent="-13716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sset 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expor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emplate based impor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sset 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offboarding</a:t>
            </a:r>
            <a:endParaRPr lang="zh-CN" altLang="en-US" sz="11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grpSp>
        <p:nvGrpSpPr>
          <p:cNvPr id="66" name="组合 26">
            <a:extLst>
              <a:ext uri="{FF2B5EF4-FFF2-40B4-BE49-F238E27FC236}">
                <a16:creationId xmlns="" xmlns:a16="http://schemas.microsoft.com/office/drawing/2014/main" id="{57A12DAC-B301-42ED-98F0-7B5B34563562}"/>
              </a:ext>
            </a:extLst>
          </p:cNvPr>
          <p:cNvGrpSpPr/>
          <p:nvPr/>
        </p:nvGrpSpPr>
        <p:grpSpPr>
          <a:xfrm>
            <a:off x="7786423" y="1437135"/>
            <a:ext cx="2075890" cy="2075890"/>
            <a:chOff x="6141359" y="2090161"/>
            <a:chExt cx="2810380" cy="2810380"/>
          </a:xfrm>
        </p:grpSpPr>
        <p:grpSp>
          <p:nvGrpSpPr>
            <p:cNvPr id="67" name="Group191">
              <a:extLst>
                <a:ext uri="{FF2B5EF4-FFF2-40B4-BE49-F238E27FC236}">
                  <a16:creationId xmlns="" xmlns:a16="http://schemas.microsoft.com/office/drawing/2014/main" id="{18659C9F-5B7C-4A58-8871-8BF9D549B784}"/>
                </a:ext>
              </a:extLst>
            </p:cNvPr>
            <p:cNvGrpSpPr/>
            <p:nvPr/>
          </p:nvGrpSpPr>
          <p:grpSpPr>
            <a:xfrm>
              <a:off x="6141359" y="2090161"/>
              <a:ext cx="2810380" cy="2810380"/>
              <a:chOff x="1494000" y="351000"/>
              <a:chExt cx="6156000" cy="6156000"/>
            </a:xfrm>
          </p:grpSpPr>
          <p:sp>
            <p:nvSpPr>
              <p:cNvPr id="69" name="MainTopic">
                <a:extLst>
                  <a:ext uri="{FF2B5EF4-FFF2-40B4-BE49-F238E27FC236}">
                    <a16:creationId xmlns="" xmlns:a16="http://schemas.microsoft.com/office/drawing/2014/main" id="{22374619-3D9C-49DE-8B00-83200763B462}"/>
                  </a:ext>
                </a:extLst>
              </p:cNvPr>
              <p:cNvSpPr/>
              <p:nvPr/>
            </p:nvSpPr>
            <p:spPr>
              <a:xfrm>
                <a:off x="3014000" y="1871000"/>
                <a:ext cx="3116000" cy="3116000"/>
              </a:xfrm>
              <a:custGeom>
                <a:avLst/>
                <a:gdLst>
                  <a:gd name="rtl" fmla="*/ 1223379 w 3116000"/>
                  <a:gd name="rtt" fmla="*/ 273600 h 3116000"/>
                  <a:gd name="rtr" fmla="*/ 1892179 w 3116000"/>
                  <a:gd name="rtb" fmla="*/ 486400 h 3116000"/>
                </a:gdLst>
                <a:ahLst/>
                <a:cxnLst/>
                <a:rect l="rtl" t="rtt" r="rtr" b="rtb"/>
                <a:pathLst>
                  <a:path w="3116000" h="3116000">
                    <a:moveTo>
                      <a:pt x="760000" y="1558000"/>
                    </a:moveTo>
                    <a:lnTo>
                      <a:pt x="0" y="1558000"/>
                    </a:lnTo>
                    <a:cubicBezTo>
                      <a:pt x="0" y="697540"/>
                      <a:pt x="697540" y="0"/>
                      <a:pt x="1558000" y="0"/>
                    </a:cubicBezTo>
                    <a:cubicBezTo>
                      <a:pt x="2418460" y="0"/>
                      <a:pt x="3116000" y="697540"/>
                      <a:pt x="3116000" y="1558000"/>
                    </a:cubicBezTo>
                    <a:lnTo>
                      <a:pt x="2356000" y="1558000"/>
                    </a:lnTo>
                    <a:cubicBezTo>
                      <a:pt x="2356000" y="1117277"/>
                      <a:pt x="1998723" y="760000"/>
                      <a:pt x="1558000" y="760000"/>
                    </a:cubicBezTo>
                    <a:cubicBezTo>
                      <a:pt x="1117277" y="760000"/>
                      <a:pt x="760000" y="1117277"/>
                      <a:pt x="760000" y="1558000"/>
                    </a:cubicBezTo>
                    <a:close/>
                  </a:path>
                </a:pathLst>
              </a:custGeom>
              <a:noFill/>
              <a:ln w="15200" cap="flat">
                <a:solidFill>
                  <a:schemeClr val="accent4"/>
                </a:solidFill>
                <a:round/>
              </a:ln>
            </p:spPr>
            <p:txBody>
              <a:bodyPr wrap="none" lIns="0" tIns="0" rIns="0" bIns="22500" rtlCol="0" anchor="ctr"/>
              <a:lstStyle/>
              <a:p>
                <a:pPr algn="ctr">
                  <a:lnSpc>
                    <a:spcPct val="100000"/>
                  </a:lnSpc>
                </a:pPr>
                <a:endParaRPr sz="1000" dirty="0">
                  <a:solidFill>
                    <a:srgbClr val="303030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70" name="MainTopic">
                <a:extLst>
                  <a:ext uri="{FF2B5EF4-FFF2-40B4-BE49-F238E27FC236}">
                    <a16:creationId xmlns="" xmlns:a16="http://schemas.microsoft.com/office/drawing/2014/main" id="{686F9A4D-4488-426F-B01F-B606373D3546}"/>
                  </a:ext>
                </a:extLst>
              </p:cNvPr>
              <p:cNvSpPr/>
              <p:nvPr/>
            </p:nvSpPr>
            <p:spPr>
              <a:xfrm>
                <a:off x="3013999" y="1870999"/>
                <a:ext cx="3116000" cy="3116000"/>
              </a:xfrm>
              <a:custGeom>
                <a:avLst/>
                <a:gdLst>
                  <a:gd name="rtl" fmla="*/ 1223821 w 3116000"/>
                  <a:gd name="rtt" fmla="*/ 2629600 h 3116000"/>
                  <a:gd name="rtr" fmla="*/ 1892621 w 3116000"/>
                  <a:gd name="rtb" fmla="*/ 2842400 h 3116000"/>
                </a:gdLst>
                <a:ahLst/>
                <a:cxnLst/>
                <a:rect l="rtl" t="rtt" r="rtr" b="rtb"/>
                <a:pathLst>
                  <a:path w="3116000" h="3116000">
                    <a:moveTo>
                      <a:pt x="2356000" y="1558000"/>
                    </a:moveTo>
                    <a:lnTo>
                      <a:pt x="3116000" y="1558000"/>
                    </a:lnTo>
                    <a:cubicBezTo>
                      <a:pt x="3116000" y="2418460"/>
                      <a:pt x="2418460" y="3116000"/>
                      <a:pt x="1558000" y="3116000"/>
                    </a:cubicBezTo>
                    <a:cubicBezTo>
                      <a:pt x="697540" y="3116000"/>
                      <a:pt x="0" y="2418460"/>
                      <a:pt x="0" y="1558000"/>
                    </a:cubicBezTo>
                    <a:lnTo>
                      <a:pt x="760000" y="1558000"/>
                    </a:lnTo>
                    <a:cubicBezTo>
                      <a:pt x="760000" y="1998723"/>
                      <a:pt x="1117277" y="2356000"/>
                      <a:pt x="1558000" y="2356000"/>
                    </a:cubicBezTo>
                    <a:cubicBezTo>
                      <a:pt x="1998723" y="2356000"/>
                      <a:pt x="2356000" y="1998723"/>
                      <a:pt x="2356000" y="1558000"/>
                    </a:cubicBezTo>
                    <a:close/>
                  </a:path>
                </a:pathLst>
              </a:custGeom>
              <a:noFill/>
              <a:ln w="15200" cap="flat">
                <a:solidFill>
                  <a:schemeClr val="tx2"/>
                </a:solidFill>
                <a:round/>
              </a:ln>
            </p:spPr>
            <p:txBody>
              <a:bodyPr wrap="none" lIns="0" tIns="0" rIns="0" bIns="22500" rtlCol="0" anchor="ctr"/>
              <a:lstStyle/>
              <a:p>
                <a:pPr algn="ctr">
                  <a:lnSpc>
                    <a:spcPct val="100000"/>
                  </a:lnSpc>
                </a:pPr>
                <a:endParaRPr sz="1000" dirty="0">
                  <a:solidFill>
                    <a:srgbClr val="303030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71" name="SubTopic">
                <a:extLst>
                  <a:ext uri="{FF2B5EF4-FFF2-40B4-BE49-F238E27FC236}">
                    <a16:creationId xmlns="" xmlns:a16="http://schemas.microsoft.com/office/drawing/2014/main" id="{31D05650-DF60-46BD-907D-BE558011470A}"/>
                  </a:ext>
                </a:extLst>
              </p:cNvPr>
              <p:cNvSpPr/>
              <p:nvPr/>
            </p:nvSpPr>
            <p:spPr>
              <a:xfrm>
                <a:off x="1494000" y="351000"/>
                <a:ext cx="6156000" cy="6156000"/>
              </a:xfrm>
              <a:custGeom>
                <a:avLst/>
                <a:gdLst>
                  <a:gd name="rtl" fmla="*/ 1091091 w 6156000"/>
                  <a:gd name="rtt" fmla="*/ 1319091 h 6156000"/>
                  <a:gd name="rtr" fmla="*/ 1759892 w 6156000"/>
                  <a:gd name="rtb" fmla="*/ 1531892 h 6156000"/>
                </a:gdLst>
                <a:ahLst/>
                <a:cxnLst/>
                <a:rect l="rtl" t="rtt" r="rtr" b="rtb"/>
                <a:pathLst>
                  <a:path w="6156000" h="6156000">
                    <a:moveTo>
                      <a:pt x="1482000" y="3078000"/>
                    </a:moveTo>
                    <a:lnTo>
                      <a:pt x="0" y="3078000"/>
                    </a:lnTo>
                    <a:cubicBezTo>
                      <a:pt x="0" y="1378068"/>
                      <a:pt x="1378068" y="0"/>
                      <a:pt x="3078000" y="0"/>
                    </a:cubicBezTo>
                    <a:lnTo>
                      <a:pt x="3078000" y="1482000"/>
                    </a:lnTo>
                    <a:cubicBezTo>
                      <a:pt x="2196554" y="1482000"/>
                      <a:pt x="1482000" y="2196554"/>
                      <a:pt x="1482000" y="3078000"/>
                    </a:cubicBezTo>
                    <a:close/>
                  </a:path>
                </a:pathLst>
              </a:custGeom>
              <a:noFill/>
              <a:ln w="15200" cap="flat">
                <a:solidFill>
                  <a:schemeClr val="accent4"/>
                </a:solidFill>
                <a:round/>
              </a:ln>
            </p:spPr>
            <p:txBody>
              <a:bodyPr wrap="none" lIns="0" tIns="0" rIns="0" bIns="22500" rtlCol="0" anchor="ctr"/>
              <a:lstStyle/>
              <a:p>
                <a:pPr algn="ctr">
                  <a:lnSpc>
                    <a:spcPct val="100000"/>
                  </a:lnSpc>
                </a:pPr>
                <a:endParaRPr sz="1000" dirty="0">
                  <a:solidFill>
                    <a:srgbClr val="303030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72" name="SubTopic">
                <a:extLst>
                  <a:ext uri="{FF2B5EF4-FFF2-40B4-BE49-F238E27FC236}">
                    <a16:creationId xmlns="" xmlns:a16="http://schemas.microsoft.com/office/drawing/2014/main" id="{CA3D6D8F-0E0D-4427-8C5A-C9B99445D2F1}"/>
                  </a:ext>
                </a:extLst>
              </p:cNvPr>
              <p:cNvSpPr/>
              <p:nvPr/>
            </p:nvSpPr>
            <p:spPr>
              <a:xfrm>
                <a:off x="1494000" y="351000"/>
                <a:ext cx="6156000" cy="6156000"/>
              </a:xfrm>
              <a:custGeom>
                <a:avLst/>
                <a:gdLst>
                  <a:gd name="rtl" fmla="*/ 4396109 w 6156000"/>
                  <a:gd name="rtt" fmla="*/ 1319091 h 6156000"/>
                  <a:gd name="rtr" fmla="*/ 5064909 w 6156000"/>
                  <a:gd name="rtb" fmla="*/ 1531892 h 6156000"/>
                </a:gdLst>
                <a:ahLst/>
                <a:cxnLst/>
                <a:rect l="rtl" t="rtt" r="rtr" b="rtb"/>
                <a:pathLst>
                  <a:path w="6156000" h="6156000">
                    <a:moveTo>
                      <a:pt x="3078000" y="1482000"/>
                    </a:moveTo>
                    <a:lnTo>
                      <a:pt x="3078000" y="0"/>
                    </a:lnTo>
                    <a:cubicBezTo>
                      <a:pt x="4777932" y="0"/>
                      <a:pt x="6156000" y="1378068"/>
                      <a:pt x="6156000" y="3078000"/>
                    </a:cubicBezTo>
                    <a:lnTo>
                      <a:pt x="4674000" y="3078000"/>
                    </a:lnTo>
                    <a:cubicBezTo>
                      <a:pt x="4674000" y="2196554"/>
                      <a:pt x="3959446" y="1482000"/>
                      <a:pt x="3078000" y="1482000"/>
                    </a:cubicBezTo>
                    <a:close/>
                  </a:path>
                </a:pathLst>
              </a:custGeom>
              <a:noFill/>
              <a:ln w="15200" cap="flat">
                <a:solidFill>
                  <a:schemeClr val="accent4"/>
                </a:solidFill>
                <a:round/>
              </a:ln>
            </p:spPr>
            <p:txBody>
              <a:bodyPr wrap="none" lIns="0" tIns="0" rIns="0" bIns="22500" rtlCol="0" anchor="ctr"/>
              <a:lstStyle/>
              <a:p>
                <a:pPr algn="ctr">
                  <a:lnSpc>
                    <a:spcPct val="100000"/>
                  </a:lnSpc>
                </a:pPr>
                <a:endParaRPr sz="1000" dirty="0">
                  <a:solidFill>
                    <a:srgbClr val="303030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73" name="SubTopic">
                <a:extLst>
                  <a:ext uri="{FF2B5EF4-FFF2-40B4-BE49-F238E27FC236}">
                    <a16:creationId xmlns="" xmlns:a16="http://schemas.microsoft.com/office/drawing/2014/main" id="{543A7B6C-2453-49E0-BE60-546D72153160}"/>
                  </a:ext>
                </a:extLst>
              </p:cNvPr>
              <p:cNvSpPr/>
              <p:nvPr/>
            </p:nvSpPr>
            <p:spPr>
              <a:xfrm>
                <a:off x="1494000" y="351000"/>
                <a:ext cx="6156000" cy="6156000"/>
              </a:xfrm>
              <a:custGeom>
                <a:avLst/>
                <a:gdLst>
                  <a:gd name="rtl" fmla="*/ 4076909 w 6156000"/>
                  <a:gd name="rtt" fmla="*/ 4624109 h 6156000"/>
                  <a:gd name="rtr" fmla="*/ 5384109 w 6156000"/>
                  <a:gd name="rtb" fmla="*/ 4836909 h 6156000"/>
                </a:gdLst>
                <a:ahLst/>
                <a:cxnLst/>
                <a:rect l="rtl" t="rtt" r="rtr" b="rtb"/>
                <a:pathLst>
                  <a:path w="6156000" h="6156000">
                    <a:moveTo>
                      <a:pt x="4674000" y="3078000"/>
                    </a:moveTo>
                    <a:lnTo>
                      <a:pt x="6156000" y="3078000"/>
                    </a:lnTo>
                    <a:cubicBezTo>
                      <a:pt x="6156000" y="4777932"/>
                      <a:pt x="4777932" y="6156000"/>
                      <a:pt x="3078000" y="6156000"/>
                    </a:cubicBezTo>
                    <a:lnTo>
                      <a:pt x="3078000" y="4674000"/>
                    </a:lnTo>
                    <a:cubicBezTo>
                      <a:pt x="3959446" y="4674000"/>
                      <a:pt x="4674000" y="3959446"/>
                      <a:pt x="4674000" y="3078000"/>
                    </a:cubicBezTo>
                    <a:close/>
                  </a:path>
                </a:pathLst>
              </a:custGeom>
              <a:noFill/>
              <a:ln w="15200" cap="flat">
                <a:solidFill>
                  <a:schemeClr val="tx2"/>
                </a:solidFill>
                <a:round/>
              </a:ln>
            </p:spPr>
            <p:txBody>
              <a:bodyPr wrap="none" lIns="0" tIns="0" rIns="0" bIns="22500" rtlCol="0" anchor="ctr"/>
              <a:lstStyle/>
              <a:p>
                <a:pPr algn="ctr">
                  <a:lnSpc>
                    <a:spcPct val="100000"/>
                  </a:lnSpc>
                </a:pPr>
                <a:endParaRPr sz="1000" dirty="0">
                  <a:solidFill>
                    <a:srgbClr val="303030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74" name="SubTopic">
                <a:extLst>
                  <a:ext uri="{FF2B5EF4-FFF2-40B4-BE49-F238E27FC236}">
                    <a16:creationId xmlns="" xmlns:a16="http://schemas.microsoft.com/office/drawing/2014/main" id="{C7DEC930-77E6-44EA-8769-F77A2A8845DC}"/>
                  </a:ext>
                </a:extLst>
              </p:cNvPr>
              <p:cNvSpPr/>
              <p:nvPr/>
            </p:nvSpPr>
            <p:spPr>
              <a:xfrm>
                <a:off x="1494000" y="351000"/>
                <a:ext cx="6156000" cy="6156000"/>
              </a:xfrm>
              <a:custGeom>
                <a:avLst/>
                <a:gdLst>
                  <a:gd name="rtl" fmla="*/ 931491 w 6156000"/>
                  <a:gd name="rtt" fmla="*/ 4624109 h 6156000"/>
                  <a:gd name="rtr" fmla="*/ 1919492 w 6156000"/>
                  <a:gd name="rtb" fmla="*/ 4836909 h 6156000"/>
                </a:gdLst>
                <a:ahLst/>
                <a:cxnLst/>
                <a:rect l="rtl" t="rtt" r="rtr" b="rtb"/>
                <a:pathLst>
                  <a:path w="6156000" h="6156000">
                    <a:moveTo>
                      <a:pt x="3078000" y="4674000"/>
                    </a:moveTo>
                    <a:lnTo>
                      <a:pt x="3078000" y="6156000"/>
                    </a:lnTo>
                    <a:cubicBezTo>
                      <a:pt x="1378068" y="6156000"/>
                      <a:pt x="0" y="4777932"/>
                      <a:pt x="0" y="3078000"/>
                    </a:cubicBezTo>
                    <a:lnTo>
                      <a:pt x="1482000" y="3078000"/>
                    </a:lnTo>
                    <a:cubicBezTo>
                      <a:pt x="1482000" y="3959446"/>
                      <a:pt x="2196554" y="4674000"/>
                      <a:pt x="3078000" y="4674000"/>
                    </a:cubicBezTo>
                    <a:close/>
                  </a:path>
                </a:pathLst>
              </a:custGeom>
              <a:noFill/>
              <a:ln w="15200" cap="flat">
                <a:solidFill>
                  <a:schemeClr val="tx2"/>
                </a:solidFill>
                <a:round/>
              </a:ln>
            </p:spPr>
            <p:txBody>
              <a:bodyPr wrap="none" lIns="0" tIns="0" rIns="0" bIns="22500" rtlCol="0" anchor="ctr"/>
              <a:lstStyle/>
              <a:p>
                <a:pPr algn="ctr">
                  <a:lnSpc>
                    <a:spcPct val="100000"/>
                  </a:lnSpc>
                </a:pPr>
                <a:endParaRPr sz="1000" dirty="0">
                  <a:solidFill>
                    <a:srgbClr val="303030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</p:grpSp>
        <p:sp>
          <p:nvSpPr>
            <p:cNvPr id="68" name="文本框 39">
              <a:extLst>
                <a:ext uri="{FF2B5EF4-FFF2-40B4-BE49-F238E27FC236}">
                  <a16:creationId xmlns="" xmlns:a16="http://schemas.microsoft.com/office/drawing/2014/main" id="{C8807CA5-422E-4B75-8A8A-47AF94B9F16D}"/>
                </a:ext>
              </a:extLst>
            </p:cNvPr>
            <p:cNvSpPr txBox="1"/>
            <p:nvPr/>
          </p:nvSpPr>
          <p:spPr>
            <a:xfrm>
              <a:off x="7145837" y="3328680"/>
              <a:ext cx="816421" cy="3333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0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ssets</a:t>
              </a:r>
              <a:endParaRPr lang="zh-CN" altLang="en-US" sz="10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="" xmlns:a16="http://schemas.microsoft.com/office/drawing/2014/main" id="{899FE978-8057-4B80-8AAD-CA7B544D89AA}"/>
              </a:ext>
            </a:extLst>
          </p:cNvPr>
          <p:cNvSpPr/>
          <p:nvPr/>
        </p:nvSpPr>
        <p:spPr>
          <a:xfrm>
            <a:off x="9497191" y="1839836"/>
            <a:ext cx="1183509" cy="30378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gnored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="" xmlns:a16="http://schemas.microsoft.com/office/drawing/2014/main" id="{1E8864ED-5CA2-4788-8B9C-8B188DDDA0E2}"/>
              </a:ext>
            </a:extLst>
          </p:cNvPr>
          <p:cNvSpPr/>
          <p:nvPr/>
        </p:nvSpPr>
        <p:spPr>
          <a:xfrm>
            <a:off x="9497190" y="2963298"/>
            <a:ext cx="1183509" cy="30378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>
              <a:lnSpc>
                <a:spcPct val="100000"/>
              </a:lnSpc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ungrouped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="" xmlns:a16="http://schemas.microsoft.com/office/drawing/2014/main" id="{2C84E2A4-5BEB-49C1-9696-98E624B0CFA7}"/>
              </a:ext>
            </a:extLst>
          </p:cNvPr>
          <p:cNvSpPr/>
          <p:nvPr/>
        </p:nvSpPr>
        <p:spPr>
          <a:xfrm>
            <a:off x="6975808" y="1839836"/>
            <a:ext cx="1183509" cy="30378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dded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="" xmlns:a16="http://schemas.microsoft.com/office/drawing/2014/main" id="{533B2AB1-16F9-4ABE-AB00-28C428111ABB}"/>
              </a:ext>
            </a:extLst>
          </p:cNvPr>
          <p:cNvSpPr/>
          <p:nvPr/>
        </p:nvSpPr>
        <p:spPr>
          <a:xfrm>
            <a:off x="6975807" y="2963298"/>
            <a:ext cx="1183509" cy="30378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grouped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5F33EC87-02D1-4A78-9F93-022EFF1ED743}"/>
              </a:ext>
            </a:extLst>
          </p:cNvPr>
          <p:cNvSpPr txBox="1"/>
          <p:nvPr/>
        </p:nvSpPr>
        <p:spPr>
          <a:xfrm>
            <a:off x="8616653" y="1994108"/>
            <a:ext cx="415428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6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sset Discovery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1FEFA6E0-26A2-4CF7-A694-399ABB6D3AA7}"/>
              </a:ext>
            </a:extLst>
          </p:cNvPr>
          <p:cNvSpPr txBox="1"/>
          <p:nvPr/>
        </p:nvSpPr>
        <p:spPr>
          <a:xfrm>
            <a:off x="8534935" y="2751857"/>
            <a:ext cx="57886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6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sset </a:t>
            </a:r>
          </a:p>
          <a:p>
            <a:pPr algn="ctr">
              <a:lnSpc>
                <a:spcPct val="100000"/>
              </a:lnSpc>
            </a:pPr>
            <a:r>
              <a:rPr lang="en-US" sz="6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Categorization</a:t>
            </a:r>
          </a:p>
        </p:txBody>
      </p:sp>
      <p:grpSp>
        <p:nvGrpSpPr>
          <p:cNvPr id="13" name="组合 12"/>
          <p:cNvGrpSpPr/>
          <p:nvPr/>
        </p:nvGrpSpPr>
        <p:grpSpPr>
          <a:xfrm>
            <a:off x="916881" y="2462612"/>
            <a:ext cx="4234943" cy="1036691"/>
            <a:chOff x="817963" y="2587227"/>
            <a:chExt cx="4725485" cy="115677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3"/>
            <a:srcRect b="9699"/>
            <a:stretch/>
          </p:blipFill>
          <p:spPr>
            <a:xfrm>
              <a:off x="817963" y="2587227"/>
              <a:ext cx="4725485" cy="1156774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1" name="组合 10"/>
            <p:cNvGrpSpPr/>
            <p:nvPr/>
          </p:nvGrpSpPr>
          <p:grpSpPr>
            <a:xfrm>
              <a:off x="945871" y="3578643"/>
              <a:ext cx="4046242" cy="155289"/>
              <a:chOff x="955040" y="3731450"/>
              <a:chExt cx="4046242" cy="155289"/>
            </a:xfrm>
          </p:grpSpPr>
          <p:sp>
            <p:nvSpPr>
              <p:cNvPr id="10" name="文本框 9"/>
              <p:cNvSpPr txBox="1"/>
              <p:nvPr/>
            </p:nvSpPr>
            <p:spPr>
              <a:xfrm>
                <a:off x="955040" y="3731450"/>
                <a:ext cx="228600" cy="138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" dirty="0" smtClean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Arial Unicode MS" panose="020B0604020202020204" pitchFamily="34" charset="-122"/>
                    <a:cs typeface="Arial" panose="020B0604020202020204" pitchFamily="34" charset="0"/>
                  </a:rPr>
                  <a:t>22</a:t>
                </a:r>
                <a:endParaRPr lang="zh-CN" altLang="en-US" sz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47" name="文本框 46"/>
              <p:cNvSpPr txBox="1"/>
              <p:nvPr/>
            </p:nvSpPr>
            <p:spPr>
              <a:xfrm>
                <a:off x="1993900" y="3748240"/>
                <a:ext cx="299720" cy="138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" dirty="0" smtClean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Arial Unicode MS" panose="020B0604020202020204" pitchFamily="34" charset="-122"/>
                    <a:cs typeface="Arial" panose="020B0604020202020204" pitchFamily="34" charset="0"/>
                  </a:rPr>
                  <a:t>TCP</a:t>
                </a:r>
                <a:endParaRPr lang="zh-CN" altLang="en-US" sz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51" name="文本框 50"/>
              <p:cNvSpPr txBox="1"/>
              <p:nvPr/>
            </p:nvSpPr>
            <p:spPr>
              <a:xfrm>
                <a:off x="2882535" y="3748239"/>
                <a:ext cx="299720" cy="138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" dirty="0" smtClean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Arial Unicode MS" panose="020B0604020202020204" pitchFamily="34" charset="-122"/>
                    <a:cs typeface="Arial" panose="020B0604020202020204" pitchFamily="34" charset="0"/>
                  </a:rPr>
                  <a:t>SSH</a:t>
                </a:r>
                <a:endParaRPr lang="zh-CN" altLang="en-US" sz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53" name="文本框 52"/>
              <p:cNvSpPr txBox="1"/>
              <p:nvPr/>
            </p:nvSpPr>
            <p:spPr>
              <a:xfrm>
                <a:off x="3695482" y="3748238"/>
                <a:ext cx="522320" cy="138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" dirty="0" smtClean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Arial Unicode MS" panose="020B0604020202020204" pitchFamily="34" charset="-122"/>
                    <a:cs typeface="Arial" panose="020B0604020202020204" pitchFamily="34" charset="0"/>
                  </a:rPr>
                  <a:t>OpenSSH/9.9</a:t>
                </a:r>
                <a:endParaRPr lang="zh-CN" altLang="en-US" sz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54" name="文本框 53"/>
              <p:cNvSpPr txBox="1"/>
              <p:nvPr/>
            </p:nvSpPr>
            <p:spPr>
              <a:xfrm>
                <a:off x="4478962" y="3748238"/>
                <a:ext cx="522320" cy="138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" dirty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Arial Unicode MS" panose="020B0604020202020204" pitchFamily="34" charset="-122"/>
                    <a:cs typeface="Arial" panose="020B0604020202020204" pitchFamily="34" charset="0"/>
                  </a:rPr>
                  <a:t>enabled</a:t>
                </a:r>
                <a:endParaRPr lang="zh-CN" altLang="en-US" sz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3" name="文本框 62"/>
          <p:cNvSpPr txBox="1"/>
          <p:nvPr/>
        </p:nvSpPr>
        <p:spPr>
          <a:xfrm>
            <a:off x="801556" y="2233345"/>
            <a:ext cx="2606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 smtClean="0">
                <a:solidFill>
                  <a:srgbClr val="002C73"/>
                </a:solidFill>
              </a:rPr>
              <a:t>Device Fingerprint</a:t>
            </a:r>
            <a:endParaRPr lang="zh-CN" altLang="en-US" sz="1100" b="1" dirty="0">
              <a:solidFill>
                <a:srgbClr val="002C73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799305" y="1396315"/>
            <a:ext cx="2606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 smtClean="0">
                <a:solidFill>
                  <a:srgbClr val="002C73"/>
                </a:solidFill>
              </a:rPr>
              <a:t>Asset Detection</a:t>
            </a:r>
            <a:endParaRPr lang="zh-CN" altLang="en-US" sz="1100" b="1" dirty="0">
              <a:solidFill>
                <a:srgbClr val="002C73"/>
              </a:solidFill>
            </a:endParaRPr>
          </a:p>
        </p:txBody>
      </p:sp>
      <p:sp>
        <p:nvSpPr>
          <p:cNvPr id="80" name="文本框 79"/>
          <p:cNvSpPr txBox="1"/>
          <p:nvPr/>
        </p:nvSpPr>
        <p:spPr>
          <a:xfrm>
            <a:off x="799305" y="3581032"/>
            <a:ext cx="2606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 smtClean="0">
                <a:solidFill>
                  <a:srgbClr val="002C73"/>
                </a:solidFill>
              </a:rPr>
              <a:t>Asset Overview</a:t>
            </a:r>
            <a:endParaRPr lang="zh-CN" altLang="en-US" sz="1100" b="1" dirty="0">
              <a:solidFill>
                <a:srgbClr val="002C73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701" y="1627467"/>
            <a:ext cx="4234943" cy="535225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6701" y="3818276"/>
            <a:ext cx="4245123" cy="2363817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790234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avorite Asset and Threat Event Management</a:t>
            </a:r>
            <a:endParaRPr lang="zh-CN" altLang="en-US" dirty="0"/>
          </a:p>
        </p:txBody>
      </p:sp>
      <p:sp>
        <p:nvSpPr>
          <p:cNvPr id="18" name="矩形 20">
            <a:extLst>
              <a:ext uri="{FF2B5EF4-FFF2-40B4-BE49-F238E27FC236}">
                <a16:creationId xmlns="" xmlns:a16="http://schemas.microsoft.com/office/drawing/2014/main" id="{975A5742-26EB-400F-83F5-5EEEB23E168A}"/>
              </a:ext>
            </a:extLst>
          </p:cNvPr>
          <p:cNvSpPr/>
          <p:nvPr/>
        </p:nvSpPr>
        <p:spPr>
          <a:xfrm>
            <a:off x="579516" y="1276604"/>
            <a:ext cx="6998574" cy="423098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avorite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Assets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 20">
            <a:extLst>
              <a:ext uri="{FF2B5EF4-FFF2-40B4-BE49-F238E27FC236}">
                <a16:creationId xmlns="" xmlns:a16="http://schemas.microsoft.com/office/drawing/2014/main" id="{975A5742-26EB-400F-83F5-5EEEB23E168A}"/>
              </a:ext>
            </a:extLst>
          </p:cNvPr>
          <p:cNvSpPr/>
          <p:nvPr/>
        </p:nvSpPr>
        <p:spPr>
          <a:xfrm>
            <a:off x="583445" y="3649599"/>
            <a:ext cx="6994645" cy="422529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avorite threat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矩形 20">
            <a:extLst>
              <a:ext uri="{FF2B5EF4-FFF2-40B4-BE49-F238E27FC236}">
                <a16:creationId xmlns="" xmlns:a16="http://schemas.microsoft.com/office/drawing/2014/main" id="{975A5742-26EB-400F-83F5-5EEEB23E168A}"/>
              </a:ext>
            </a:extLst>
          </p:cNvPr>
          <p:cNvSpPr/>
          <p:nvPr/>
        </p:nvSpPr>
        <p:spPr>
          <a:xfrm>
            <a:off x="7978183" y="1276604"/>
            <a:ext cx="3639184" cy="432824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vorites Function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20">
            <a:extLst>
              <a:ext uri="{FF2B5EF4-FFF2-40B4-BE49-F238E27FC236}">
                <a16:creationId xmlns="" xmlns:a16="http://schemas.microsoft.com/office/drawing/2014/main" id="{C7A3FF8E-6489-428C-925A-38031B5B3BFC}"/>
              </a:ext>
            </a:extLst>
          </p:cNvPr>
          <p:cNvSpPr/>
          <p:nvPr/>
        </p:nvSpPr>
        <p:spPr>
          <a:xfrm>
            <a:off x="7978183" y="1709428"/>
            <a:ext cx="3639184" cy="10591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/>
            <a:r>
              <a:rPr kumimoji="1" lang="en-US" altLang="zh-CN" sz="120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Provide extra attention and independent analysis to assets/threat events customer marked as favorites.</a:t>
            </a:r>
            <a:endParaRPr kumimoji="1" lang="zh-CN" altLang="en-US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591304" y="1699702"/>
            <a:ext cx="6975090" cy="1783764"/>
            <a:chOff x="591304" y="1618422"/>
            <a:chExt cx="6975090" cy="1783764"/>
          </a:xfrm>
        </p:grpSpPr>
        <p:pic>
          <p:nvPicPr>
            <p:cNvPr id="31" name="图片 30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78"/>
            <a:stretch/>
          </p:blipFill>
          <p:spPr>
            <a:xfrm>
              <a:off x="591304" y="1618422"/>
              <a:ext cx="6975090" cy="17837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  <a:effectLst>
              <a:outerShdw blurRad="571500" dist="38100" dir="2700000" algn="tl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32" name="图片 3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30142" y="2005588"/>
              <a:ext cx="2236711" cy="1297634"/>
            </a:xfrm>
            <a:prstGeom prst="rect">
              <a:avLst/>
            </a:prstGeom>
            <a:ln>
              <a:solidFill>
                <a:srgbClr val="002C73"/>
              </a:solidFill>
            </a:ln>
          </p:spPr>
        </p:pic>
        <p:sp>
          <p:nvSpPr>
            <p:cNvPr id="33" name="矩形 32"/>
            <p:cNvSpPr/>
            <p:nvPr/>
          </p:nvSpPr>
          <p:spPr>
            <a:xfrm>
              <a:off x="946594" y="2546634"/>
              <a:ext cx="117538" cy="756588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589344" y="3922159"/>
            <a:ext cx="6992029" cy="2317673"/>
            <a:chOff x="589344" y="3922159"/>
            <a:chExt cx="6992029" cy="2317673"/>
          </a:xfrm>
        </p:grpSpPr>
        <p:pic>
          <p:nvPicPr>
            <p:cNvPr id="34" name="图片 3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87"/>
            <a:stretch/>
          </p:blipFill>
          <p:spPr>
            <a:xfrm>
              <a:off x="589344" y="4072128"/>
              <a:ext cx="6992029" cy="2167704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pic>
          <p:nvPicPr>
            <p:cNvPr id="35" name="图片 3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8023" y="3922159"/>
              <a:ext cx="1179028" cy="2235200"/>
            </a:xfrm>
            <a:prstGeom prst="rect">
              <a:avLst/>
            </a:prstGeom>
            <a:ln>
              <a:solidFill>
                <a:srgbClr val="002C73"/>
              </a:solidFill>
            </a:ln>
          </p:spPr>
        </p:pic>
      </p:grpSp>
      <p:sp>
        <p:nvSpPr>
          <p:cNvPr id="38" name="矩形 20">
            <a:extLst>
              <a:ext uri="{FF2B5EF4-FFF2-40B4-BE49-F238E27FC236}">
                <a16:creationId xmlns="" xmlns:a16="http://schemas.microsoft.com/office/drawing/2014/main" id="{975A5742-26EB-400F-83F5-5EEEB23E168A}"/>
              </a:ext>
            </a:extLst>
          </p:cNvPr>
          <p:cNvSpPr/>
          <p:nvPr/>
        </p:nvSpPr>
        <p:spPr>
          <a:xfrm>
            <a:off x="7978183" y="2896908"/>
            <a:ext cx="3639184" cy="432824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arious Alert Rules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矩形 20">
            <a:extLst>
              <a:ext uri="{FF2B5EF4-FFF2-40B4-BE49-F238E27FC236}">
                <a16:creationId xmlns="" xmlns:a16="http://schemas.microsoft.com/office/drawing/2014/main" id="{C7A3FF8E-6489-428C-925A-38031B5B3BFC}"/>
              </a:ext>
            </a:extLst>
          </p:cNvPr>
          <p:cNvSpPr/>
          <p:nvPr/>
        </p:nvSpPr>
        <p:spPr>
          <a:xfrm>
            <a:off x="7978183" y="3329732"/>
            <a:ext cx="3639184" cy="1174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/>
            <a:r>
              <a:rPr kumimoji="1" lang="en-US" altLang="zh-CN" sz="120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Source</a:t>
            </a:r>
            <a:r>
              <a:rPr kumimoji="1" lang="en-US" altLang="zh-CN" sz="120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 automatically </a:t>
            </a:r>
            <a:r>
              <a:rPr kumimoji="1"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correlates </a:t>
            </a:r>
            <a:r>
              <a:rPr kumimoji="1" lang="en-US" altLang="zh-CN" sz="120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favorite </a:t>
            </a:r>
            <a:r>
              <a:rPr kumimoji="1"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events </a:t>
            </a:r>
            <a:r>
              <a:rPr kumimoji="1" lang="en-US" altLang="zh-CN" sz="120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nd assets </a:t>
            </a:r>
            <a:r>
              <a:rPr kumimoji="1"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o generate corresponding alert rules. Users can </a:t>
            </a:r>
            <a:r>
              <a:rPr kumimoji="1" lang="en-US" altLang="zh-CN" sz="120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lso configure </a:t>
            </a:r>
            <a:r>
              <a:rPr kumimoji="1"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ndependent alert rules for </a:t>
            </a:r>
            <a:r>
              <a:rPr kumimoji="1" lang="en-US" altLang="zh-CN" sz="120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favorite assets.</a:t>
            </a:r>
            <a:endParaRPr kumimoji="1" lang="zh-CN" altLang="en-US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40" name="矩形 20">
            <a:extLst>
              <a:ext uri="{FF2B5EF4-FFF2-40B4-BE49-F238E27FC236}">
                <a16:creationId xmlns="" xmlns:a16="http://schemas.microsoft.com/office/drawing/2014/main" id="{975A5742-26EB-400F-83F5-5EEEB23E168A}"/>
              </a:ext>
            </a:extLst>
          </p:cNvPr>
          <p:cNvSpPr/>
          <p:nvPr/>
        </p:nvSpPr>
        <p:spPr>
          <a:xfrm>
            <a:off x="7978183" y="4632524"/>
            <a:ext cx="3639184" cy="432824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vorite Posture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 20">
            <a:extLst>
              <a:ext uri="{FF2B5EF4-FFF2-40B4-BE49-F238E27FC236}">
                <a16:creationId xmlns="" xmlns:a16="http://schemas.microsoft.com/office/drawing/2014/main" id="{C7A3FF8E-6489-428C-925A-38031B5B3BFC}"/>
              </a:ext>
            </a:extLst>
          </p:cNvPr>
          <p:cNvSpPr/>
          <p:nvPr/>
        </p:nvSpPr>
        <p:spPr>
          <a:xfrm>
            <a:off x="7978183" y="5065348"/>
            <a:ext cx="3639184" cy="1174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</a:t>
            </a:r>
            <a:r>
              <a:rPr kumimoji="1" lang="en-US" altLang="zh-CN" sz="120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upport filtering favorite threat events on threat event lis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1" lang="en-US" altLang="zh-CN" sz="120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filtering favorite assets on asset list</a:t>
            </a:r>
            <a:endParaRPr kumimoji="1" lang="zh-CN" altLang="en-US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8886547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Intelligence Management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FD891456-B205-4862-9FB6-742E967DC4A3}"/>
              </a:ext>
            </a:extLst>
          </p:cNvPr>
          <p:cNvSpPr/>
          <p:nvPr/>
        </p:nvSpPr>
        <p:spPr>
          <a:xfrm>
            <a:off x="0" y="1485900"/>
            <a:ext cx="12192000" cy="2082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8795271-6BAE-416F-B890-5A4F1E82D617}"/>
              </a:ext>
            </a:extLst>
          </p:cNvPr>
          <p:cNvSpPr/>
          <p:nvPr/>
        </p:nvSpPr>
        <p:spPr>
          <a:xfrm>
            <a:off x="587376" y="1925638"/>
            <a:ext cx="3492499" cy="39481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EA7DFBCD-1F78-4502-9978-6C3535B40CB4}"/>
              </a:ext>
            </a:extLst>
          </p:cNvPr>
          <p:cNvSpPr/>
          <p:nvPr/>
        </p:nvSpPr>
        <p:spPr>
          <a:xfrm>
            <a:off x="4349750" y="1925638"/>
            <a:ext cx="3492499" cy="39481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F3641109-911F-44D5-B299-E75548DF8E5A}"/>
              </a:ext>
            </a:extLst>
          </p:cNvPr>
          <p:cNvSpPr/>
          <p:nvPr/>
        </p:nvSpPr>
        <p:spPr>
          <a:xfrm>
            <a:off x="8109720" y="1925638"/>
            <a:ext cx="3492499" cy="39481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ctr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D" sz="10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矩形: 圆角 11">
            <a:extLst>
              <a:ext uri="{FF2B5EF4-FFF2-40B4-BE49-F238E27FC236}">
                <a16:creationId xmlns="" xmlns:a16="http://schemas.microsoft.com/office/drawing/2014/main" id="{FF3310DC-F3E1-488D-A38D-E7F9888A31BA}"/>
              </a:ext>
            </a:extLst>
          </p:cNvPr>
          <p:cNvSpPr/>
          <p:nvPr/>
        </p:nvSpPr>
        <p:spPr>
          <a:xfrm>
            <a:off x="586565" y="1925638"/>
            <a:ext cx="3493310" cy="633412"/>
          </a:xfrm>
          <a:prstGeom prst="roundRect">
            <a:avLst>
              <a:gd name="adj" fmla="val 0"/>
            </a:avLst>
          </a:prstGeom>
          <a:solidFill>
            <a:srgbClr val="0070C0"/>
          </a:solidFill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600" b="1" dirty="0">
                <a:latin typeface="Arial" panose="020B0604020202020204" pitchFamily="34" charset="0"/>
                <a:cs typeface="Arial" panose="020B0604020202020204" pitchFamily="34" charset="0"/>
              </a:rPr>
              <a:t>Hotspot Intelligence</a:t>
            </a:r>
          </a:p>
        </p:txBody>
      </p:sp>
      <p:sp>
        <p:nvSpPr>
          <p:cNvPr id="24" name="矩形: 圆角 11">
            <a:extLst>
              <a:ext uri="{FF2B5EF4-FFF2-40B4-BE49-F238E27FC236}">
                <a16:creationId xmlns="" xmlns:a16="http://schemas.microsoft.com/office/drawing/2014/main" id="{1B385A97-4E36-418E-BAC4-7BDFDE157F6A}"/>
              </a:ext>
            </a:extLst>
          </p:cNvPr>
          <p:cNvSpPr/>
          <p:nvPr/>
        </p:nvSpPr>
        <p:spPr>
          <a:xfrm>
            <a:off x="4348147" y="1925638"/>
            <a:ext cx="3494904" cy="633412"/>
          </a:xfrm>
          <a:prstGeom prst="roundRect">
            <a:avLst>
              <a:gd name="adj" fmla="val 0"/>
            </a:avLst>
          </a:prstGeom>
          <a:solidFill>
            <a:srgbClr val="0070C0"/>
          </a:solidFill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600" b="1" dirty="0">
                <a:latin typeface="Arial" panose="020B0604020202020204" pitchFamily="34" charset="0"/>
                <a:cs typeface="Arial" panose="020B0604020202020204" pitchFamily="34" charset="0"/>
              </a:rPr>
              <a:t>Hillstone Intelligence Database</a:t>
            </a:r>
          </a:p>
        </p:txBody>
      </p:sp>
      <p:sp>
        <p:nvSpPr>
          <p:cNvPr id="25" name="矩形: 圆角 11">
            <a:extLst>
              <a:ext uri="{FF2B5EF4-FFF2-40B4-BE49-F238E27FC236}">
                <a16:creationId xmlns="" xmlns:a16="http://schemas.microsoft.com/office/drawing/2014/main" id="{40DA3F58-A953-4C7A-B76F-9ED5EAFD5614}"/>
              </a:ext>
            </a:extLst>
          </p:cNvPr>
          <p:cNvSpPr/>
          <p:nvPr/>
        </p:nvSpPr>
        <p:spPr>
          <a:xfrm>
            <a:off x="8109720" y="1925638"/>
            <a:ext cx="3494907" cy="633412"/>
          </a:xfrm>
          <a:prstGeom prst="roundRect">
            <a:avLst>
              <a:gd name="adj" fmla="val 0"/>
            </a:avLst>
          </a:prstGeom>
          <a:solidFill>
            <a:srgbClr val="0070C0"/>
          </a:solidFill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600" b="1">
                <a:latin typeface="Arial" panose="020B0604020202020204" pitchFamily="34" charset="0"/>
                <a:cs typeface="Arial" panose="020B0604020202020204" pitchFamily="34" charset="0"/>
              </a:rPr>
              <a:t>Allow/Block </a:t>
            </a:r>
            <a:r>
              <a:rPr lang="x-none" sz="1600" b="1" dirty="0"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</p:txBody>
      </p:sp>
      <p:sp>
        <p:nvSpPr>
          <p:cNvPr id="69" name="Content Placeholder 32">
            <a:extLst>
              <a:ext uri="{FF2B5EF4-FFF2-40B4-BE49-F238E27FC236}">
                <a16:creationId xmlns="" xmlns:a16="http://schemas.microsoft.com/office/drawing/2014/main" id="{1DC5E743-2568-4389-B6A4-2CDF2A0A1F2F}"/>
              </a:ext>
            </a:extLst>
          </p:cNvPr>
          <p:cNvSpPr txBox="1">
            <a:spLocks/>
          </p:cNvSpPr>
          <p:nvPr/>
        </p:nvSpPr>
        <p:spPr>
          <a:xfrm>
            <a:off x="839788" y="2808298"/>
            <a:ext cx="292018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x-none" sz="1400" dirty="0"/>
              <a:t>CVE threat Intelligence notification </a:t>
            </a:r>
            <a:r>
              <a:rPr lang="en-US" sz="1400" dirty="0"/>
              <a:t>supports</a:t>
            </a:r>
            <a:r>
              <a:rPr lang="x-none" sz="1400" dirty="0"/>
              <a:t> intelligence search by</a:t>
            </a:r>
          </a:p>
        </p:txBody>
      </p:sp>
      <p:sp>
        <p:nvSpPr>
          <p:cNvPr id="72" name="Content Placeholder 32">
            <a:extLst>
              <a:ext uri="{FF2B5EF4-FFF2-40B4-BE49-F238E27FC236}">
                <a16:creationId xmlns="" xmlns:a16="http://schemas.microsoft.com/office/drawing/2014/main" id="{D65D18D7-D652-49F9-8E0D-1DE3C003C06E}"/>
              </a:ext>
            </a:extLst>
          </p:cNvPr>
          <p:cNvSpPr txBox="1">
            <a:spLocks/>
          </p:cNvSpPr>
          <p:nvPr/>
        </p:nvSpPr>
        <p:spPr>
          <a:xfrm>
            <a:off x="1046204" y="3451842"/>
            <a:ext cx="85244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/>
              <a:t>IP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200" dirty="0"/>
              <a:t>F</a:t>
            </a:r>
            <a:r>
              <a:rPr lang="x-none" sz="1200" dirty="0"/>
              <a:t>ile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200" dirty="0"/>
              <a:t>D</a:t>
            </a:r>
            <a:r>
              <a:rPr lang="x-none" sz="1200" dirty="0"/>
              <a:t>omain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/>
              <a:t>URL</a:t>
            </a:r>
            <a:endParaRPr lang="en-US" sz="1200" dirty="0"/>
          </a:p>
        </p:txBody>
      </p:sp>
      <p:sp>
        <p:nvSpPr>
          <p:cNvPr id="73" name="Content Placeholder 32">
            <a:extLst>
              <a:ext uri="{FF2B5EF4-FFF2-40B4-BE49-F238E27FC236}">
                <a16:creationId xmlns="" xmlns:a16="http://schemas.microsoft.com/office/drawing/2014/main" id="{32A34D63-5711-493B-BA65-EB1BC6F1BE63}"/>
              </a:ext>
            </a:extLst>
          </p:cNvPr>
          <p:cNvSpPr txBox="1">
            <a:spLocks/>
          </p:cNvSpPr>
          <p:nvPr/>
        </p:nvSpPr>
        <p:spPr>
          <a:xfrm>
            <a:off x="2486028" y="3429000"/>
            <a:ext cx="118186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200" dirty="0"/>
              <a:t>N</a:t>
            </a:r>
            <a:r>
              <a:rPr lang="x-none" sz="1200" dirty="0"/>
              <a:t>ame</a:t>
            </a:r>
            <a:endParaRPr lang="en-US" sz="1200" dirty="0"/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/>
              <a:t>CVEID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/>
              <a:t>CNNVD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200" dirty="0"/>
              <a:t>T</a:t>
            </a:r>
            <a:r>
              <a:rPr lang="x-none" sz="1200" dirty="0" smtClean="0"/>
              <a:t>hreat </a:t>
            </a:r>
            <a:r>
              <a:rPr lang="x-none" sz="1200" dirty="0"/>
              <a:t>tag</a:t>
            </a:r>
          </a:p>
        </p:txBody>
      </p:sp>
      <p:sp>
        <p:nvSpPr>
          <p:cNvPr id="74" name="Content Placeholder 32">
            <a:extLst>
              <a:ext uri="{FF2B5EF4-FFF2-40B4-BE49-F238E27FC236}">
                <a16:creationId xmlns="" xmlns:a16="http://schemas.microsoft.com/office/drawing/2014/main" id="{1F99E9A9-B6AD-43C6-B8EF-DFF420F4A7FF}"/>
              </a:ext>
            </a:extLst>
          </p:cNvPr>
          <p:cNvSpPr txBox="1">
            <a:spLocks/>
          </p:cNvSpPr>
          <p:nvPr/>
        </p:nvSpPr>
        <p:spPr>
          <a:xfrm>
            <a:off x="873129" y="4999161"/>
            <a:ext cx="292018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400" dirty="0"/>
              <a:t>Support asset check by opening a case directly from a new intelligence tab</a:t>
            </a:r>
          </a:p>
        </p:txBody>
      </p:sp>
      <p:sp>
        <p:nvSpPr>
          <p:cNvPr id="76" name="Content Placeholder 32">
            <a:extLst>
              <a:ext uri="{FF2B5EF4-FFF2-40B4-BE49-F238E27FC236}">
                <a16:creationId xmlns="" xmlns:a16="http://schemas.microsoft.com/office/drawing/2014/main" id="{5C72CDC4-8D74-4307-8948-1C01981A3647}"/>
              </a:ext>
            </a:extLst>
          </p:cNvPr>
          <p:cNvSpPr txBox="1">
            <a:spLocks/>
          </p:cNvSpPr>
          <p:nvPr/>
        </p:nvSpPr>
        <p:spPr>
          <a:xfrm>
            <a:off x="4784591" y="3361810"/>
            <a:ext cx="1381734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 smtClean="0"/>
              <a:t>Domain</a:t>
            </a:r>
            <a:endParaRPr lang="en-US" sz="1200" dirty="0" smtClean="0"/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 smtClean="0"/>
              <a:t>IP</a:t>
            </a:r>
            <a:endParaRPr lang="x-none" sz="1200" dirty="0"/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 smtClean="0"/>
              <a:t>Vulnerability</a:t>
            </a:r>
            <a:endParaRPr lang="en-US" sz="1200" dirty="0" smtClean="0"/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200" dirty="0"/>
              <a:t>MITRE </a:t>
            </a:r>
            <a:r>
              <a:rPr lang="en-US" sz="1200" dirty="0" smtClean="0"/>
              <a:t>ATT&amp;CK®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200" dirty="0"/>
              <a:t>Abnormal Behavior 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200" dirty="0" smtClean="0"/>
              <a:t>Honeypot</a:t>
            </a:r>
            <a:endParaRPr lang="x-none" sz="1200" dirty="0"/>
          </a:p>
        </p:txBody>
      </p:sp>
      <p:sp>
        <p:nvSpPr>
          <p:cNvPr id="77" name="Content Placeholder 32">
            <a:extLst>
              <a:ext uri="{FF2B5EF4-FFF2-40B4-BE49-F238E27FC236}">
                <a16:creationId xmlns="" xmlns:a16="http://schemas.microsoft.com/office/drawing/2014/main" id="{32B2961E-CD0A-4D38-B491-DFFC10C49BD0}"/>
              </a:ext>
            </a:extLst>
          </p:cNvPr>
          <p:cNvSpPr txBox="1">
            <a:spLocks/>
          </p:cNvSpPr>
          <p:nvPr/>
        </p:nvSpPr>
        <p:spPr>
          <a:xfrm>
            <a:off x="6168733" y="3361810"/>
            <a:ext cx="1354496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/>
              <a:t>Intrusion detection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/>
              <a:t>Malicious code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x-none" sz="1200" dirty="0" smtClean="0"/>
              <a:t>Geo-location</a:t>
            </a:r>
            <a:endParaRPr lang="en-US" sz="1200" dirty="0" smtClean="0"/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200" dirty="0"/>
              <a:t>Web Attack </a:t>
            </a:r>
            <a:r>
              <a:rPr lang="en-US" altLang="zh-CN" sz="1200" dirty="0" smtClean="0"/>
              <a:t>Detection</a:t>
            </a:r>
          </a:p>
          <a:p>
            <a:pPr marL="182880" indent="-18288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zh-CN" sz="1200" dirty="0"/>
              <a:t>Malware </a:t>
            </a:r>
            <a:r>
              <a:rPr lang="en-US" altLang="zh-CN" sz="1200" dirty="0" smtClean="0"/>
              <a:t>Behavior</a:t>
            </a:r>
            <a:endParaRPr lang="x-none" sz="1200" dirty="0"/>
          </a:p>
        </p:txBody>
      </p:sp>
      <p:sp>
        <p:nvSpPr>
          <p:cNvPr id="78" name="Content Placeholder 32">
            <a:extLst>
              <a:ext uri="{FF2B5EF4-FFF2-40B4-BE49-F238E27FC236}">
                <a16:creationId xmlns="" xmlns:a16="http://schemas.microsoft.com/office/drawing/2014/main" id="{A009CF0F-4A62-4E01-A98B-23ABE3F15110}"/>
              </a:ext>
            </a:extLst>
          </p:cNvPr>
          <p:cNvSpPr txBox="1">
            <a:spLocks/>
          </p:cNvSpPr>
          <p:nvPr/>
        </p:nvSpPr>
        <p:spPr>
          <a:xfrm>
            <a:off x="4635909" y="2801224"/>
            <a:ext cx="29201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x-none" sz="1400" dirty="0" smtClean="0"/>
              <a:t>Hillstone </a:t>
            </a:r>
            <a:r>
              <a:rPr lang="x-none" sz="1400" dirty="0"/>
              <a:t>Intelligence Databases:</a:t>
            </a:r>
          </a:p>
        </p:txBody>
      </p:sp>
      <p:sp>
        <p:nvSpPr>
          <p:cNvPr id="79" name="Content Placeholder 32">
            <a:extLst>
              <a:ext uri="{FF2B5EF4-FFF2-40B4-BE49-F238E27FC236}">
                <a16:creationId xmlns="" xmlns:a16="http://schemas.microsoft.com/office/drawing/2014/main" id="{3DD0F7EA-ABA7-466E-9738-8C5E2546AF83}"/>
              </a:ext>
            </a:extLst>
          </p:cNvPr>
          <p:cNvSpPr txBox="1">
            <a:spLocks/>
          </p:cNvSpPr>
          <p:nvPr/>
        </p:nvSpPr>
        <p:spPr>
          <a:xfrm>
            <a:off x="8399118" y="2801224"/>
            <a:ext cx="29201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x-none" sz="1400" dirty="0"/>
              <a:t>Customizable access list: </a:t>
            </a:r>
          </a:p>
        </p:txBody>
      </p:sp>
      <p:sp>
        <p:nvSpPr>
          <p:cNvPr id="80" name="Content Placeholder 32">
            <a:extLst>
              <a:ext uri="{FF2B5EF4-FFF2-40B4-BE49-F238E27FC236}">
                <a16:creationId xmlns="" xmlns:a16="http://schemas.microsoft.com/office/drawing/2014/main" id="{2EBFA819-3980-463B-AC18-80F9D50E044C}"/>
              </a:ext>
            </a:extLst>
          </p:cNvPr>
          <p:cNvSpPr txBox="1">
            <a:spLocks/>
          </p:cNvSpPr>
          <p:nvPr/>
        </p:nvSpPr>
        <p:spPr>
          <a:xfrm>
            <a:off x="8605534" y="3209410"/>
            <a:ext cx="2329166" cy="11285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x-none" sz="1200" dirty="0"/>
              <a:t>DNS</a:t>
            </a:r>
            <a:r>
              <a:rPr lang="zh-CN" altLang="en-US" sz="1200" dirty="0"/>
              <a:t> </a:t>
            </a:r>
            <a:r>
              <a:rPr lang="en-US" altLang="zh-CN" sz="1200" dirty="0"/>
              <a:t>allow list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200" dirty="0"/>
              <a:t>File allow list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200" dirty="0"/>
              <a:t>DNS block list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200" dirty="0"/>
              <a:t>Malicious code block list</a:t>
            </a:r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200" dirty="0"/>
              <a:t>IP block list</a:t>
            </a:r>
          </a:p>
        </p:txBody>
      </p:sp>
      <p:sp>
        <p:nvSpPr>
          <p:cNvPr id="83" name="Content Placeholder 32">
            <a:extLst>
              <a:ext uri="{FF2B5EF4-FFF2-40B4-BE49-F238E27FC236}">
                <a16:creationId xmlns="" xmlns:a16="http://schemas.microsoft.com/office/drawing/2014/main" id="{D46DA222-493A-4E70-8870-F508C965A68F}"/>
              </a:ext>
            </a:extLst>
          </p:cNvPr>
          <p:cNvSpPr txBox="1">
            <a:spLocks/>
          </p:cNvSpPr>
          <p:nvPr/>
        </p:nvSpPr>
        <p:spPr>
          <a:xfrm>
            <a:off x="4635909" y="5020658"/>
            <a:ext cx="3020667" cy="4821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x-none" sz="1400" dirty="0"/>
              <a:t>Update</a:t>
            </a:r>
            <a:r>
              <a:rPr lang="en-US" sz="1400" dirty="0"/>
              <a:t>s</a:t>
            </a:r>
            <a:r>
              <a:rPr lang="x-none" sz="1400" dirty="0"/>
              <a:t> periodically or on-demand</a:t>
            </a:r>
            <a:endParaRPr lang="en-US" sz="1400" dirty="0"/>
          </a:p>
          <a:p>
            <a:pPr marL="182880" indent="-18288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400" dirty="0"/>
              <a:t>S</a:t>
            </a:r>
            <a:r>
              <a:rPr lang="x-none" sz="1400" dirty="0"/>
              <a:t>upport</a:t>
            </a:r>
            <a:r>
              <a:rPr lang="en-US" sz="1400" dirty="0"/>
              <a:t>s </a:t>
            </a:r>
            <a:r>
              <a:rPr lang="x-none" sz="1400" dirty="0"/>
              <a:t>online or offline update</a:t>
            </a:r>
          </a:p>
        </p:txBody>
      </p:sp>
    </p:spTree>
    <p:extLst>
      <p:ext uri="{BB962C8B-B14F-4D97-AF65-F5344CB8AC3E}">
        <p14:creationId xmlns:p14="http://schemas.microsoft.com/office/powerpoint/2010/main" val="16698490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Log Management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BF069481-FE52-4980-A53C-7602F78F67C9}"/>
              </a:ext>
            </a:extLst>
          </p:cNvPr>
          <p:cNvGrpSpPr/>
          <p:nvPr/>
        </p:nvGrpSpPr>
        <p:grpSpPr>
          <a:xfrm>
            <a:off x="587376" y="1418844"/>
            <a:ext cx="11017176" cy="4635496"/>
            <a:chOff x="6096000" y="3643703"/>
            <a:chExt cx="5508551" cy="3799330"/>
          </a:xfrm>
        </p:grpSpPr>
        <p:grpSp>
          <p:nvGrpSpPr>
            <p:cNvPr id="41" name="Group 40">
              <a:extLst>
                <a:ext uri="{FF2B5EF4-FFF2-40B4-BE49-F238E27FC236}">
                  <a16:creationId xmlns="" xmlns:a16="http://schemas.microsoft.com/office/drawing/2014/main" id="{80085041-429C-4BF4-85A4-0E024D697A52}"/>
                </a:ext>
              </a:extLst>
            </p:cNvPr>
            <p:cNvGrpSpPr/>
            <p:nvPr/>
          </p:nvGrpSpPr>
          <p:grpSpPr>
            <a:xfrm>
              <a:off x="6096000" y="3818274"/>
              <a:ext cx="5508550" cy="3624759"/>
              <a:chOff x="6115127" y="3538928"/>
              <a:chExt cx="5604944" cy="877535"/>
            </a:xfrm>
            <a:solidFill>
              <a:schemeClr val="bg1">
                <a:lumMod val="95000"/>
              </a:schemeClr>
            </a:solidFill>
          </p:grpSpPr>
          <p:sp>
            <p:nvSpPr>
              <p:cNvPr id="42" name="矩形 20">
                <a:extLst>
                  <a:ext uri="{FF2B5EF4-FFF2-40B4-BE49-F238E27FC236}">
                    <a16:creationId xmlns="" xmlns:a16="http://schemas.microsoft.com/office/drawing/2014/main" id="{C7A3FF8E-6489-428C-925A-38031B5B3BFC}"/>
                  </a:ext>
                </a:extLst>
              </p:cNvPr>
              <p:cNvSpPr/>
              <p:nvPr/>
            </p:nvSpPr>
            <p:spPr>
              <a:xfrm>
                <a:off x="6115127" y="3538928"/>
                <a:ext cx="1791689" cy="87753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/>
                <a:endParaRPr kumimoji="1"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44" name="矩形 21">
                <a:extLst>
                  <a:ext uri="{FF2B5EF4-FFF2-40B4-BE49-F238E27FC236}">
                    <a16:creationId xmlns="" xmlns:a16="http://schemas.microsoft.com/office/drawing/2014/main" id="{E32A194C-1405-4EE4-B693-F16F884C095C}"/>
                  </a:ext>
                </a:extLst>
              </p:cNvPr>
              <p:cNvSpPr/>
              <p:nvPr/>
            </p:nvSpPr>
            <p:spPr>
              <a:xfrm>
                <a:off x="9928382" y="3538928"/>
                <a:ext cx="1791689" cy="39432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/>
                <a:endParaRPr kumimoji="1"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45" name="矩形 21">
                <a:extLst>
                  <a:ext uri="{FF2B5EF4-FFF2-40B4-BE49-F238E27FC236}">
                    <a16:creationId xmlns="" xmlns:a16="http://schemas.microsoft.com/office/drawing/2014/main" id="{55617604-4C91-41A0-83E3-8F4EF728CF92}"/>
                  </a:ext>
                </a:extLst>
              </p:cNvPr>
              <p:cNvSpPr/>
              <p:nvPr/>
            </p:nvSpPr>
            <p:spPr>
              <a:xfrm>
                <a:off x="8021755" y="3538928"/>
                <a:ext cx="1791689" cy="39432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/>
                <a:endParaRPr kumimoji="1"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="" xmlns:a16="http://schemas.microsoft.com/office/drawing/2014/main" id="{558DE232-CB49-4563-9659-FAE47652DEBD}"/>
                </a:ext>
              </a:extLst>
            </p:cNvPr>
            <p:cNvGrpSpPr/>
            <p:nvPr/>
          </p:nvGrpSpPr>
          <p:grpSpPr>
            <a:xfrm>
              <a:off x="6096001" y="3643703"/>
              <a:ext cx="5508550" cy="394326"/>
              <a:chOff x="6115127" y="3538928"/>
              <a:chExt cx="5604944" cy="394326"/>
            </a:xfrm>
          </p:grpSpPr>
          <p:sp>
            <p:nvSpPr>
              <p:cNvPr id="47" name="矩形 20">
                <a:extLst>
                  <a:ext uri="{FF2B5EF4-FFF2-40B4-BE49-F238E27FC236}">
                    <a16:creationId xmlns="" xmlns:a16="http://schemas.microsoft.com/office/drawing/2014/main" id="{975A5742-26EB-400F-83F5-5EEEB23E168A}"/>
                  </a:ext>
                </a:extLst>
              </p:cNvPr>
              <p:cNvSpPr/>
              <p:nvPr/>
            </p:nvSpPr>
            <p:spPr>
              <a:xfrm>
                <a:off x="6115127" y="3538928"/>
                <a:ext cx="1791689" cy="394326"/>
              </a:xfrm>
              <a:prstGeom prst="rect">
                <a:avLst/>
              </a:prstGeom>
              <a:solidFill>
                <a:srgbClr val="00307D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x-none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Log Parse</a:t>
                </a:r>
              </a:p>
            </p:txBody>
          </p:sp>
          <p:sp>
            <p:nvSpPr>
              <p:cNvPr id="51" name="矩形 21">
                <a:extLst>
                  <a:ext uri="{FF2B5EF4-FFF2-40B4-BE49-F238E27FC236}">
                    <a16:creationId xmlns="" xmlns:a16="http://schemas.microsoft.com/office/drawing/2014/main" id="{ABF0D7E7-40EB-472D-8064-204A6B517246}"/>
                  </a:ext>
                </a:extLst>
              </p:cNvPr>
              <p:cNvSpPr/>
              <p:nvPr/>
            </p:nvSpPr>
            <p:spPr>
              <a:xfrm>
                <a:off x="9928382" y="3538928"/>
                <a:ext cx="1791689" cy="388454"/>
              </a:xfrm>
              <a:prstGeom prst="rect">
                <a:avLst/>
              </a:prstGeom>
              <a:solidFill>
                <a:srgbClr val="00307D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x-none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og Storage</a:t>
                </a:r>
              </a:p>
            </p:txBody>
          </p:sp>
          <p:sp>
            <p:nvSpPr>
              <p:cNvPr id="53" name="矩形 21">
                <a:extLst>
                  <a:ext uri="{FF2B5EF4-FFF2-40B4-BE49-F238E27FC236}">
                    <a16:creationId xmlns="" xmlns:a16="http://schemas.microsoft.com/office/drawing/2014/main" id="{017A2272-BE40-4380-AADD-7A67EEF85C6C}"/>
                  </a:ext>
                </a:extLst>
              </p:cNvPr>
              <p:cNvSpPr/>
              <p:nvPr/>
            </p:nvSpPr>
            <p:spPr>
              <a:xfrm>
                <a:off x="8021755" y="3538928"/>
                <a:ext cx="1791689" cy="388454"/>
              </a:xfrm>
              <a:prstGeom prst="rect">
                <a:avLst/>
              </a:prstGeom>
              <a:solidFill>
                <a:srgbClr val="00307D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x-none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og Source</a:t>
                </a: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="" xmlns:a16="http://schemas.microsoft.com/office/drawing/2014/main" id="{F2139302-1527-4DFF-9AC2-FA4719CE87E1}"/>
              </a:ext>
            </a:extLst>
          </p:cNvPr>
          <p:cNvGrpSpPr/>
          <p:nvPr/>
        </p:nvGrpSpPr>
        <p:grpSpPr>
          <a:xfrm>
            <a:off x="4335074" y="3854069"/>
            <a:ext cx="7269475" cy="2200275"/>
            <a:chOff x="7969837" y="3643703"/>
            <a:chExt cx="3634713" cy="1803382"/>
          </a:xfrm>
        </p:grpSpPr>
        <p:grpSp>
          <p:nvGrpSpPr>
            <p:cNvPr id="63" name="Group 62">
              <a:extLst>
                <a:ext uri="{FF2B5EF4-FFF2-40B4-BE49-F238E27FC236}">
                  <a16:creationId xmlns="" xmlns:a16="http://schemas.microsoft.com/office/drawing/2014/main" id="{0571DE67-8798-4C50-9AEC-AC1724737DE5}"/>
                </a:ext>
              </a:extLst>
            </p:cNvPr>
            <p:cNvGrpSpPr/>
            <p:nvPr/>
          </p:nvGrpSpPr>
          <p:grpSpPr>
            <a:xfrm>
              <a:off x="7969837" y="3818276"/>
              <a:ext cx="3634712" cy="1628809"/>
              <a:chOff x="8021755" y="3538928"/>
              <a:chExt cx="3698316" cy="394326"/>
            </a:xfrm>
            <a:solidFill>
              <a:schemeClr val="bg1">
                <a:lumMod val="95000"/>
              </a:schemeClr>
            </a:solidFill>
          </p:grpSpPr>
          <p:sp>
            <p:nvSpPr>
              <p:cNvPr id="85" name="矩形 21">
                <a:extLst>
                  <a:ext uri="{FF2B5EF4-FFF2-40B4-BE49-F238E27FC236}">
                    <a16:creationId xmlns="" xmlns:a16="http://schemas.microsoft.com/office/drawing/2014/main" id="{67A736AB-9790-4559-9FBD-F9C862F541D7}"/>
                  </a:ext>
                </a:extLst>
              </p:cNvPr>
              <p:cNvSpPr/>
              <p:nvPr/>
            </p:nvSpPr>
            <p:spPr>
              <a:xfrm>
                <a:off x="9928382" y="3538928"/>
                <a:ext cx="1791689" cy="39432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/>
                <a:endParaRPr kumimoji="1"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86" name="矩形 21">
                <a:extLst>
                  <a:ext uri="{FF2B5EF4-FFF2-40B4-BE49-F238E27FC236}">
                    <a16:creationId xmlns="" xmlns:a16="http://schemas.microsoft.com/office/drawing/2014/main" id="{DBEB8D87-4D62-4915-AE14-DC7503201E10}"/>
                  </a:ext>
                </a:extLst>
              </p:cNvPr>
              <p:cNvSpPr/>
              <p:nvPr/>
            </p:nvSpPr>
            <p:spPr>
              <a:xfrm>
                <a:off x="8021755" y="3538928"/>
                <a:ext cx="1791689" cy="39432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/>
                <a:endParaRPr kumimoji="1"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="" xmlns:a16="http://schemas.microsoft.com/office/drawing/2014/main" id="{BE312712-9257-4BB3-AA8B-23BF726746D9}"/>
                </a:ext>
              </a:extLst>
            </p:cNvPr>
            <p:cNvGrpSpPr/>
            <p:nvPr/>
          </p:nvGrpSpPr>
          <p:grpSpPr>
            <a:xfrm>
              <a:off x="7969838" y="3643703"/>
              <a:ext cx="3634712" cy="388454"/>
              <a:chOff x="8021755" y="3538928"/>
              <a:chExt cx="3698316" cy="388454"/>
            </a:xfrm>
          </p:grpSpPr>
          <p:sp>
            <p:nvSpPr>
              <p:cNvPr id="82" name="矩形 21">
                <a:extLst>
                  <a:ext uri="{FF2B5EF4-FFF2-40B4-BE49-F238E27FC236}">
                    <a16:creationId xmlns="" xmlns:a16="http://schemas.microsoft.com/office/drawing/2014/main" id="{733C8015-8C1E-4354-99D1-4C2F1BC4F944}"/>
                  </a:ext>
                </a:extLst>
              </p:cNvPr>
              <p:cNvSpPr/>
              <p:nvPr/>
            </p:nvSpPr>
            <p:spPr>
              <a:xfrm>
                <a:off x="9928382" y="3538928"/>
                <a:ext cx="1791689" cy="388454"/>
              </a:xfrm>
              <a:prstGeom prst="rect">
                <a:avLst/>
              </a:prstGeom>
              <a:solidFill>
                <a:srgbClr val="00307D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x-none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og Server</a:t>
                </a:r>
              </a:p>
            </p:txBody>
          </p:sp>
          <p:sp>
            <p:nvSpPr>
              <p:cNvPr id="83" name="矩形 21">
                <a:extLst>
                  <a:ext uri="{FF2B5EF4-FFF2-40B4-BE49-F238E27FC236}">
                    <a16:creationId xmlns="" xmlns:a16="http://schemas.microsoft.com/office/drawing/2014/main" id="{A53EF57E-3F2C-44FC-A93E-9E139F2BBC3D}"/>
                  </a:ext>
                </a:extLst>
              </p:cNvPr>
              <p:cNvSpPr/>
              <p:nvPr/>
            </p:nvSpPr>
            <p:spPr>
              <a:xfrm>
                <a:off x="8021755" y="3538928"/>
                <a:ext cx="1791689" cy="388454"/>
              </a:xfrm>
              <a:prstGeom prst="rect">
                <a:avLst/>
              </a:prstGeom>
              <a:solidFill>
                <a:srgbClr val="00307D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x-none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og Device</a:t>
                </a:r>
              </a:p>
            </p:txBody>
          </p:sp>
        </p:grpSp>
      </p:grp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34BF2E84-D7C5-4092-9F26-BEFC52723F2C}"/>
              </a:ext>
            </a:extLst>
          </p:cNvPr>
          <p:cNvSpPr txBox="1"/>
          <p:nvPr/>
        </p:nvSpPr>
        <p:spPr>
          <a:xfrm>
            <a:off x="959317" y="2183687"/>
            <a:ext cx="2854723" cy="2529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x-none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 party log integration</a:t>
            </a:r>
          </a:p>
          <a:p>
            <a:pPr marL="171450" indent="-17145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Predefined parsing template</a:t>
            </a:r>
          </a:p>
          <a:p>
            <a:pPr marL="171450" indent="-17145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parse configuration</a:t>
            </a:r>
          </a:p>
          <a:p>
            <a:pPr marL="171450" indent="-17145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ja-JP" sz="1400" dirty="0">
                <a:latin typeface="Arial" panose="020B0604020202020204" pitchFamily="34" charset="0"/>
                <a:cs typeface="Arial" panose="020B0604020202020204" pitchFamily="34" charset="0"/>
              </a:rPr>
              <a:t>Support parsing: </a:t>
            </a:r>
          </a:p>
          <a:p>
            <a:pPr marL="628650" lvl="1" indent="-17145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Grok</a:t>
            </a:r>
            <a:endParaRPr lang="en-US" altLang="ja-JP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8650" lvl="1" indent="-17145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Key-Value</a:t>
            </a:r>
            <a:endParaRPr lang="en-US" altLang="ja-JP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8650" lvl="1" indent="-17145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endParaRPr lang="en-US" altLang="ja-JP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="" xmlns:a16="http://schemas.microsoft.com/office/drawing/2014/main" id="{80E6852F-A980-475D-B1A3-B1A5903346E4}"/>
              </a:ext>
            </a:extLst>
          </p:cNvPr>
          <p:cNvSpPr txBox="1"/>
          <p:nvPr/>
        </p:nvSpPr>
        <p:spPr>
          <a:xfrm>
            <a:off x="4658627" y="2183687"/>
            <a:ext cx="263732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Trusted log sources</a:t>
            </a:r>
          </a:p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Ensure the system security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14BCAC81-CC6A-431C-AA37-00CD499E953A}"/>
              </a:ext>
            </a:extLst>
          </p:cNvPr>
          <p:cNvSpPr txBox="1"/>
          <p:nvPr/>
        </p:nvSpPr>
        <p:spPr>
          <a:xfrm>
            <a:off x="8443205" y="2183687"/>
            <a:ext cx="2818353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Storage availability</a:t>
            </a:r>
          </a:p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Log backup configuration</a:t>
            </a:r>
          </a:p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Log restoration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="" xmlns:a16="http://schemas.microsoft.com/office/drawing/2014/main" id="{C354994E-4D39-4159-939B-9CD0F27849C7}"/>
              </a:ext>
            </a:extLst>
          </p:cNvPr>
          <p:cNvSpPr txBox="1"/>
          <p:nvPr/>
        </p:nvSpPr>
        <p:spPr>
          <a:xfrm>
            <a:off x="4658627" y="4611956"/>
            <a:ext cx="2733575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List Sysmon host</a:t>
            </a:r>
          </a:p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uto updated 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AE351DC3-0F56-4D5E-89E7-7CF14D551838}"/>
              </a:ext>
            </a:extLst>
          </p:cNvPr>
          <p:cNvSpPr txBox="1"/>
          <p:nvPr/>
        </p:nvSpPr>
        <p:spPr>
          <a:xfrm>
            <a:off x="8449046" y="4611956"/>
            <a:ext cx="2812512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xternal Log servers that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iSource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will send the followings to: </a:t>
            </a:r>
          </a:p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llected logs</a:t>
            </a:r>
          </a:p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tected threat events</a:t>
            </a:r>
          </a:p>
        </p:txBody>
      </p:sp>
    </p:spTree>
    <p:extLst>
      <p:ext uri="{BB962C8B-B14F-4D97-AF65-F5344CB8AC3E}">
        <p14:creationId xmlns:p14="http://schemas.microsoft.com/office/powerpoint/2010/main" val="298654175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Arial" panose="020B0604020202020204" pitchFamily="34" charset="0"/>
                <a:sym typeface=""/>
              </a:rPr>
              <a:t>Report Management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92DB14B1-8BDC-4E2E-A6F8-E23AF07AEFF3}"/>
              </a:ext>
            </a:extLst>
          </p:cNvPr>
          <p:cNvSpPr/>
          <p:nvPr/>
        </p:nvSpPr>
        <p:spPr>
          <a:xfrm>
            <a:off x="593004" y="3076577"/>
            <a:ext cx="5417271" cy="2882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AC8B8DE3-704B-4034-AE28-350E1BD10EE0}"/>
              </a:ext>
            </a:extLst>
          </p:cNvPr>
          <p:cNvSpPr/>
          <p:nvPr/>
        </p:nvSpPr>
        <p:spPr>
          <a:xfrm>
            <a:off x="6187354" y="3076576"/>
            <a:ext cx="5417271" cy="2882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4BE9221A-9812-477B-81FD-D51F286F2A09}"/>
              </a:ext>
            </a:extLst>
          </p:cNvPr>
          <p:cNvSpPr txBox="1"/>
          <p:nvPr/>
        </p:nvSpPr>
        <p:spPr>
          <a:xfrm>
            <a:off x="2330166" y="6062188"/>
            <a:ext cx="194294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x-none" sz="1100" b="1" dirty="0">
                <a:latin typeface="Arial" panose="020B0604020202020204" pitchFamily="34" charset="0"/>
                <a:cs typeface="Arial" panose="020B0604020202020204" pitchFamily="34" charset="0"/>
              </a:rPr>
              <a:t> page of summary repor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F361BAC2-EBBA-48A1-9F3A-706576DA4526}"/>
              </a:ext>
            </a:extLst>
          </p:cNvPr>
          <p:cNvSpPr txBox="1"/>
          <p:nvPr/>
        </p:nvSpPr>
        <p:spPr>
          <a:xfrm>
            <a:off x="7924516" y="6062188"/>
            <a:ext cx="194294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Rich report templates</a:t>
            </a:r>
            <a:endParaRPr lang="x-none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54F409E8-5A1B-4303-9F50-0C91E4AFB139}"/>
              </a:ext>
            </a:extLst>
          </p:cNvPr>
          <p:cNvGrpSpPr/>
          <p:nvPr/>
        </p:nvGrpSpPr>
        <p:grpSpPr>
          <a:xfrm>
            <a:off x="587374" y="1371600"/>
            <a:ext cx="11017176" cy="541480"/>
            <a:chOff x="587374" y="1469882"/>
            <a:chExt cx="10099675" cy="443198"/>
          </a:xfrm>
        </p:grpSpPr>
        <p:sp>
          <p:nvSpPr>
            <p:cNvPr id="3" name="Rectangle 2">
              <a:extLst>
                <a:ext uri="{FF2B5EF4-FFF2-40B4-BE49-F238E27FC236}">
                  <a16:creationId xmlns="" xmlns:a16="http://schemas.microsoft.com/office/drawing/2014/main" id="{4179C47E-93D9-4987-AF37-39583E616ACD}"/>
                </a:ext>
              </a:extLst>
            </p:cNvPr>
            <p:cNvSpPr/>
            <p:nvPr/>
          </p:nvSpPr>
          <p:spPr>
            <a:xfrm>
              <a:off x="587374" y="1469882"/>
              <a:ext cx="3318443" cy="44319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0" rtlCol="0" anchor="ctr"/>
            <a:lstStyle/>
            <a:p>
              <a:r>
                <a:rPr lang="en-US" altLang="zh-CN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Report Overview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CEAD46BF-7C58-4E93-AFC7-08E9B54F4EF6}"/>
                </a:ext>
              </a:extLst>
            </p:cNvPr>
            <p:cNvSpPr/>
            <p:nvPr/>
          </p:nvSpPr>
          <p:spPr>
            <a:xfrm>
              <a:off x="3977990" y="1469882"/>
              <a:ext cx="3318443" cy="44319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0" rtlCol="0" anchor="ctr"/>
            <a:lstStyle/>
            <a:p>
              <a:r>
                <a:rPr lang="en-US" altLang="zh-CN" sz="18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Report Task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5C75D783-1813-4ADF-A3DA-1B88C87F4DEE}"/>
                </a:ext>
              </a:extLst>
            </p:cNvPr>
            <p:cNvSpPr/>
            <p:nvPr/>
          </p:nvSpPr>
          <p:spPr>
            <a:xfrm>
              <a:off x="7368606" y="1469882"/>
              <a:ext cx="3318443" cy="4431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0" rtlCol="0" anchor="ctr"/>
            <a:lstStyle/>
            <a:p>
              <a:r>
                <a:rPr lang="en-US" altLang="zh-CN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Report Template</a:t>
              </a:r>
            </a:p>
          </p:txBody>
        </p:sp>
      </p:grpSp>
      <p:sp>
        <p:nvSpPr>
          <p:cNvPr id="36" name="文本框 5">
            <a:extLst>
              <a:ext uri="{FF2B5EF4-FFF2-40B4-BE49-F238E27FC236}">
                <a16:creationId xmlns="" xmlns:a16="http://schemas.microsoft.com/office/drawing/2014/main" id="{153ECE7E-DEEB-4DDF-B844-DDC17D065355}"/>
              </a:ext>
            </a:extLst>
          </p:cNvPr>
          <p:cNvSpPr txBox="1"/>
          <p:nvPr/>
        </p:nvSpPr>
        <p:spPr>
          <a:xfrm>
            <a:off x="776529" y="2009577"/>
            <a:ext cx="344027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ts val="1500"/>
              </a:lnSpc>
              <a:defRPr sz="900"/>
            </a:lvl1pPr>
          </a:lstStyle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List all reports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live view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export report in PDF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manual export for customizable queries</a:t>
            </a:r>
          </a:p>
        </p:txBody>
      </p:sp>
      <p:sp>
        <p:nvSpPr>
          <p:cNvPr id="37" name="文本框 10">
            <a:extLst>
              <a:ext uri="{FF2B5EF4-FFF2-40B4-BE49-F238E27FC236}">
                <a16:creationId xmlns="" xmlns:a16="http://schemas.microsoft.com/office/drawing/2014/main" id="{48B9B2B5-53D8-49E7-B9D0-BB4097319575}"/>
              </a:ext>
            </a:extLst>
          </p:cNvPr>
          <p:cNvSpPr txBox="1"/>
          <p:nvPr/>
        </p:nvSpPr>
        <p:spPr>
          <a:xfrm>
            <a:off x="4475162" y="2009577"/>
            <a:ext cx="3440277" cy="3898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ts val="1500"/>
              </a:lnSpc>
              <a:defRPr sz="900"/>
            </a:lvl1pPr>
          </a:lstStyle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Generate reports periodically (daily/weekly/monthly)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Overview or detailed reports</a:t>
            </a:r>
          </a:p>
        </p:txBody>
      </p:sp>
      <p:sp>
        <p:nvSpPr>
          <p:cNvPr id="38" name="文本框 13">
            <a:extLst>
              <a:ext uri="{FF2B5EF4-FFF2-40B4-BE49-F238E27FC236}">
                <a16:creationId xmlns="" xmlns:a16="http://schemas.microsoft.com/office/drawing/2014/main" id="{78E7E588-3645-4EB8-9FB5-E54CEBFBF8B1}"/>
              </a:ext>
            </a:extLst>
          </p:cNvPr>
          <p:cNvSpPr txBox="1"/>
          <p:nvPr/>
        </p:nvSpPr>
        <p:spPr>
          <a:xfrm>
            <a:off x="8176403" y="2009577"/>
            <a:ext cx="3437671" cy="3898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ts val="1500"/>
              </a:lnSpc>
              <a:defRPr sz="900"/>
            </a:lvl1pPr>
          </a:lstStyle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Multiple pre-defined templates</a:t>
            </a:r>
          </a:p>
          <a:p>
            <a:pPr marL="137160" indent="-1371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Customizable templates</a:t>
            </a:r>
          </a:p>
        </p:txBody>
      </p:sp>
      <p:sp>
        <p:nvSpPr>
          <p:cNvPr id="39" name="椭圆 7">
            <a:extLst>
              <a:ext uri="{FF2B5EF4-FFF2-40B4-BE49-F238E27FC236}">
                <a16:creationId xmlns="" xmlns:a16="http://schemas.microsoft.com/office/drawing/2014/main" id="{7FB29455-87C0-4F22-B49F-4A3EF9F9AA55}"/>
              </a:ext>
            </a:extLst>
          </p:cNvPr>
          <p:cNvSpPr/>
          <p:nvPr/>
        </p:nvSpPr>
        <p:spPr>
          <a:xfrm>
            <a:off x="781712" y="1437241"/>
            <a:ext cx="410200" cy="410198"/>
          </a:xfrm>
          <a:prstGeom prst="ellipse">
            <a:avLst/>
          </a:prstGeom>
          <a:solidFill>
            <a:schemeClr val="bg1"/>
          </a:solidFill>
          <a:ln w="5715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3765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1" name="任意多边形 5">
            <a:extLst>
              <a:ext uri="{FF2B5EF4-FFF2-40B4-BE49-F238E27FC236}">
                <a16:creationId xmlns="" xmlns:a16="http://schemas.microsoft.com/office/drawing/2014/main" id="{6D9CAF0E-61F0-4FFB-9EA3-A0F61C2EBF4E}"/>
              </a:ext>
            </a:extLst>
          </p:cNvPr>
          <p:cNvSpPr/>
          <p:nvPr/>
        </p:nvSpPr>
        <p:spPr>
          <a:xfrm>
            <a:off x="867268" y="1557591"/>
            <a:ext cx="239088" cy="179314"/>
          </a:xfrm>
          <a:custGeom>
            <a:avLst/>
            <a:gdLst>
              <a:gd name="connsiteX0" fmla="*/ 505433 w 533400"/>
              <a:gd name="connsiteY0" fmla="*/ 621 h 400050"/>
              <a:gd name="connsiteX1" fmla="*/ 534008 w 533400"/>
              <a:gd name="connsiteY1" fmla="*/ 29196 h 400050"/>
              <a:gd name="connsiteX2" fmla="*/ 534008 w 533400"/>
              <a:gd name="connsiteY2" fmla="*/ 372096 h 400050"/>
              <a:gd name="connsiteX3" fmla="*/ 505433 w 533400"/>
              <a:gd name="connsiteY3" fmla="*/ 400671 h 400050"/>
              <a:gd name="connsiteX4" fmla="*/ 29183 w 533400"/>
              <a:gd name="connsiteY4" fmla="*/ 400671 h 400050"/>
              <a:gd name="connsiteX5" fmla="*/ 608 w 533400"/>
              <a:gd name="connsiteY5" fmla="*/ 372096 h 400050"/>
              <a:gd name="connsiteX6" fmla="*/ 608 w 533400"/>
              <a:gd name="connsiteY6" fmla="*/ 29196 h 400050"/>
              <a:gd name="connsiteX7" fmla="*/ 29183 w 533400"/>
              <a:gd name="connsiteY7" fmla="*/ 621 h 400050"/>
              <a:gd name="connsiteX8" fmla="*/ 505433 w 533400"/>
              <a:gd name="connsiteY8" fmla="*/ 621 h 400050"/>
              <a:gd name="connsiteX9" fmla="*/ 391419 w 533400"/>
              <a:gd name="connsiteY9" fmla="*/ 198646 h 400050"/>
              <a:gd name="connsiteX10" fmla="*/ 351414 w 533400"/>
              <a:gd name="connsiteY10" fmla="*/ 204170 h 400050"/>
              <a:gd name="connsiteX11" fmla="*/ 351414 w 533400"/>
              <a:gd name="connsiteY11" fmla="*/ 204170 h 400050"/>
              <a:gd name="connsiteX12" fmla="*/ 267118 w 533400"/>
              <a:gd name="connsiteY12" fmla="*/ 315613 h 400050"/>
              <a:gd name="connsiteX13" fmla="*/ 264641 w 533400"/>
              <a:gd name="connsiteY13" fmla="*/ 318470 h 400050"/>
              <a:gd name="connsiteX14" fmla="*/ 224255 w 533400"/>
              <a:gd name="connsiteY14" fmla="*/ 318756 h 400050"/>
              <a:gd name="connsiteX15" fmla="*/ 224255 w 533400"/>
              <a:gd name="connsiteY15" fmla="*/ 318756 h 400050"/>
              <a:gd name="connsiteX16" fmla="*/ 162152 w 533400"/>
              <a:gd name="connsiteY16" fmla="*/ 257415 h 400050"/>
              <a:gd name="connsiteX17" fmla="*/ 160247 w 533400"/>
              <a:gd name="connsiteY17" fmla="*/ 255701 h 400050"/>
              <a:gd name="connsiteX18" fmla="*/ 120052 w 533400"/>
              <a:gd name="connsiteY18" fmla="*/ 259606 h 400050"/>
              <a:gd name="connsiteX19" fmla="*/ 120052 w 533400"/>
              <a:gd name="connsiteY19" fmla="*/ 259606 h 400050"/>
              <a:gd name="connsiteX20" fmla="*/ 32517 w 533400"/>
              <a:gd name="connsiteY20" fmla="*/ 366095 h 400050"/>
              <a:gd name="connsiteX21" fmla="*/ 30326 w 533400"/>
              <a:gd name="connsiteY21" fmla="*/ 372096 h 400050"/>
              <a:gd name="connsiteX22" fmla="*/ 39851 w 533400"/>
              <a:gd name="connsiteY22" fmla="*/ 381621 h 400050"/>
              <a:gd name="connsiteX23" fmla="*/ 39851 w 533400"/>
              <a:gd name="connsiteY23" fmla="*/ 381621 h 400050"/>
              <a:gd name="connsiteX24" fmla="*/ 497242 w 533400"/>
              <a:gd name="connsiteY24" fmla="*/ 381621 h 400050"/>
              <a:gd name="connsiteX25" fmla="*/ 502480 w 533400"/>
              <a:gd name="connsiteY25" fmla="*/ 380002 h 400050"/>
              <a:gd name="connsiteX26" fmla="*/ 505147 w 533400"/>
              <a:gd name="connsiteY26" fmla="*/ 366762 h 400050"/>
              <a:gd name="connsiteX27" fmla="*/ 505147 w 533400"/>
              <a:gd name="connsiteY27" fmla="*/ 366762 h 400050"/>
              <a:gd name="connsiteX28" fmla="*/ 397991 w 533400"/>
              <a:gd name="connsiteY28" fmla="*/ 205504 h 400050"/>
              <a:gd name="connsiteX29" fmla="*/ 391419 w 533400"/>
              <a:gd name="connsiteY29" fmla="*/ 198646 h 400050"/>
              <a:gd name="connsiteX30" fmla="*/ 95858 w 533400"/>
              <a:gd name="connsiteY30" fmla="*/ 57771 h 400050"/>
              <a:gd name="connsiteX31" fmla="*/ 57758 w 533400"/>
              <a:gd name="connsiteY31" fmla="*/ 95871 h 400050"/>
              <a:gd name="connsiteX32" fmla="*/ 95858 w 533400"/>
              <a:gd name="connsiteY32" fmla="*/ 133971 h 400050"/>
              <a:gd name="connsiteX33" fmla="*/ 133958 w 533400"/>
              <a:gd name="connsiteY33" fmla="*/ 95871 h 400050"/>
              <a:gd name="connsiteX34" fmla="*/ 95858 w 533400"/>
              <a:gd name="connsiteY34" fmla="*/ 57771 h 40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33400" h="400050">
                <a:moveTo>
                  <a:pt x="505433" y="621"/>
                </a:moveTo>
                <a:cubicBezTo>
                  <a:pt x="521245" y="621"/>
                  <a:pt x="534008" y="13385"/>
                  <a:pt x="534008" y="29196"/>
                </a:cubicBezTo>
                <a:lnTo>
                  <a:pt x="534008" y="372096"/>
                </a:lnTo>
                <a:cubicBezTo>
                  <a:pt x="534008" y="387907"/>
                  <a:pt x="521245" y="400671"/>
                  <a:pt x="505433" y="400671"/>
                </a:cubicBezTo>
                <a:lnTo>
                  <a:pt x="29183" y="400671"/>
                </a:lnTo>
                <a:cubicBezTo>
                  <a:pt x="13371" y="400671"/>
                  <a:pt x="608" y="387907"/>
                  <a:pt x="608" y="372096"/>
                </a:cubicBezTo>
                <a:lnTo>
                  <a:pt x="608" y="29196"/>
                </a:lnTo>
                <a:cubicBezTo>
                  <a:pt x="608" y="13385"/>
                  <a:pt x="13371" y="621"/>
                  <a:pt x="29183" y="621"/>
                </a:cubicBezTo>
                <a:lnTo>
                  <a:pt x="505433" y="621"/>
                </a:lnTo>
                <a:close/>
                <a:moveTo>
                  <a:pt x="391419" y="198646"/>
                </a:moveTo>
                <a:cubicBezTo>
                  <a:pt x="378846" y="189121"/>
                  <a:pt x="360939" y="191597"/>
                  <a:pt x="351414" y="204170"/>
                </a:cubicBezTo>
                <a:lnTo>
                  <a:pt x="351414" y="204170"/>
                </a:lnTo>
                <a:lnTo>
                  <a:pt x="267118" y="315613"/>
                </a:lnTo>
                <a:cubicBezTo>
                  <a:pt x="266355" y="316660"/>
                  <a:pt x="265498" y="317518"/>
                  <a:pt x="264641" y="318470"/>
                </a:cubicBezTo>
                <a:cubicBezTo>
                  <a:pt x="253592" y="329710"/>
                  <a:pt x="235495" y="329805"/>
                  <a:pt x="224255" y="318756"/>
                </a:cubicBezTo>
                <a:lnTo>
                  <a:pt x="224255" y="318756"/>
                </a:lnTo>
                <a:lnTo>
                  <a:pt x="162152" y="257415"/>
                </a:lnTo>
                <a:cubicBezTo>
                  <a:pt x="161485" y="256844"/>
                  <a:pt x="160914" y="256177"/>
                  <a:pt x="160247" y="255701"/>
                </a:cubicBezTo>
                <a:cubicBezTo>
                  <a:pt x="148055" y="245699"/>
                  <a:pt x="130053" y="247414"/>
                  <a:pt x="120052" y="259606"/>
                </a:cubicBezTo>
                <a:lnTo>
                  <a:pt x="120052" y="259606"/>
                </a:lnTo>
                <a:lnTo>
                  <a:pt x="32517" y="366095"/>
                </a:lnTo>
                <a:cubicBezTo>
                  <a:pt x="31088" y="367810"/>
                  <a:pt x="30326" y="369905"/>
                  <a:pt x="30326" y="372096"/>
                </a:cubicBezTo>
                <a:cubicBezTo>
                  <a:pt x="30326" y="377335"/>
                  <a:pt x="34612" y="381621"/>
                  <a:pt x="39851" y="381621"/>
                </a:cubicBezTo>
                <a:lnTo>
                  <a:pt x="39851" y="381621"/>
                </a:lnTo>
                <a:lnTo>
                  <a:pt x="497242" y="381621"/>
                </a:lnTo>
                <a:cubicBezTo>
                  <a:pt x="499146" y="381621"/>
                  <a:pt x="500956" y="381050"/>
                  <a:pt x="502480" y="380002"/>
                </a:cubicBezTo>
                <a:cubicBezTo>
                  <a:pt x="506862" y="377049"/>
                  <a:pt x="508005" y="371144"/>
                  <a:pt x="505147" y="366762"/>
                </a:cubicBezTo>
                <a:lnTo>
                  <a:pt x="505147" y="366762"/>
                </a:lnTo>
                <a:lnTo>
                  <a:pt x="397991" y="205504"/>
                </a:lnTo>
                <a:cubicBezTo>
                  <a:pt x="396181" y="202932"/>
                  <a:pt x="393990" y="200551"/>
                  <a:pt x="391419" y="198646"/>
                </a:cubicBezTo>
                <a:close/>
                <a:moveTo>
                  <a:pt x="95858" y="57771"/>
                </a:moveTo>
                <a:cubicBezTo>
                  <a:pt x="74808" y="57771"/>
                  <a:pt x="57758" y="74821"/>
                  <a:pt x="57758" y="95871"/>
                </a:cubicBezTo>
                <a:cubicBezTo>
                  <a:pt x="57758" y="116921"/>
                  <a:pt x="74808" y="133971"/>
                  <a:pt x="95858" y="133971"/>
                </a:cubicBezTo>
                <a:cubicBezTo>
                  <a:pt x="116908" y="133971"/>
                  <a:pt x="133958" y="116921"/>
                  <a:pt x="133958" y="95871"/>
                </a:cubicBezTo>
                <a:cubicBezTo>
                  <a:pt x="133958" y="74821"/>
                  <a:pt x="116908" y="57771"/>
                  <a:pt x="95858" y="57771"/>
                </a:cubicBezTo>
                <a:close/>
              </a:path>
            </a:pathLst>
          </a:custGeom>
          <a:solidFill>
            <a:schemeClr val="tx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2" name="椭圆 7">
            <a:extLst>
              <a:ext uri="{FF2B5EF4-FFF2-40B4-BE49-F238E27FC236}">
                <a16:creationId xmlns="" xmlns:a16="http://schemas.microsoft.com/office/drawing/2014/main" id="{19174CD1-C90C-4404-9DB2-ADA3FD429917}"/>
              </a:ext>
            </a:extLst>
          </p:cNvPr>
          <p:cNvSpPr/>
          <p:nvPr/>
        </p:nvSpPr>
        <p:spPr>
          <a:xfrm>
            <a:off x="4475163" y="1437241"/>
            <a:ext cx="410200" cy="410198"/>
          </a:xfrm>
          <a:prstGeom prst="ellipse">
            <a:avLst/>
          </a:prstGeom>
          <a:solidFill>
            <a:schemeClr val="bg1"/>
          </a:solidFill>
          <a:ln w="5715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3765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4" name="椭圆 7">
            <a:extLst>
              <a:ext uri="{FF2B5EF4-FFF2-40B4-BE49-F238E27FC236}">
                <a16:creationId xmlns="" xmlns:a16="http://schemas.microsoft.com/office/drawing/2014/main" id="{754CD089-D211-41CC-A2DF-35B12675300F}"/>
              </a:ext>
            </a:extLst>
          </p:cNvPr>
          <p:cNvSpPr/>
          <p:nvPr/>
        </p:nvSpPr>
        <p:spPr>
          <a:xfrm>
            <a:off x="8176403" y="1437241"/>
            <a:ext cx="410200" cy="410198"/>
          </a:xfrm>
          <a:prstGeom prst="ellipse">
            <a:avLst/>
          </a:prstGeom>
          <a:solidFill>
            <a:schemeClr val="bg1"/>
          </a:solidFill>
          <a:ln w="5715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3765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6" name="任意多边形 36">
            <a:extLst>
              <a:ext uri="{FF2B5EF4-FFF2-40B4-BE49-F238E27FC236}">
                <a16:creationId xmlns="" xmlns:a16="http://schemas.microsoft.com/office/drawing/2014/main" id="{CB58B75F-BD14-4A23-841A-ADF04D1E2FD1}"/>
              </a:ext>
            </a:extLst>
          </p:cNvPr>
          <p:cNvSpPr/>
          <p:nvPr/>
        </p:nvSpPr>
        <p:spPr>
          <a:xfrm>
            <a:off x="4579613" y="1532011"/>
            <a:ext cx="201300" cy="220657"/>
          </a:xfrm>
          <a:custGeom>
            <a:avLst/>
            <a:gdLst>
              <a:gd name="connsiteX0" fmla="*/ 248770 w 495300"/>
              <a:gd name="connsiteY0" fmla="*/ 621 h 542925"/>
              <a:gd name="connsiteX1" fmla="*/ 496420 w 495300"/>
              <a:gd name="connsiteY1" fmla="*/ 248271 h 542925"/>
              <a:gd name="connsiteX2" fmla="*/ 323827 w 495300"/>
              <a:gd name="connsiteY2" fmla="*/ 484396 h 542925"/>
              <a:gd name="connsiteX3" fmla="*/ 346973 w 495300"/>
              <a:gd name="connsiteY3" fmla="*/ 524496 h 542925"/>
              <a:gd name="connsiteX4" fmla="*/ 420220 w 495300"/>
              <a:gd name="connsiteY4" fmla="*/ 524496 h 542925"/>
              <a:gd name="connsiteX5" fmla="*/ 420220 w 495300"/>
              <a:gd name="connsiteY5" fmla="*/ 543546 h 542925"/>
              <a:gd name="connsiteX6" fmla="*/ 77320 w 495300"/>
              <a:gd name="connsiteY6" fmla="*/ 543546 h 542925"/>
              <a:gd name="connsiteX7" fmla="*/ 77320 w 495300"/>
              <a:gd name="connsiteY7" fmla="*/ 524496 h 542925"/>
              <a:gd name="connsiteX8" fmla="*/ 150567 w 495300"/>
              <a:gd name="connsiteY8" fmla="*/ 524496 h 542925"/>
              <a:gd name="connsiteX9" fmla="*/ 173713 w 495300"/>
              <a:gd name="connsiteY9" fmla="*/ 484396 h 542925"/>
              <a:gd name="connsiteX10" fmla="*/ 1120 w 495300"/>
              <a:gd name="connsiteY10" fmla="*/ 248271 h 542925"/>
              <a:gd name="connsiteX11" fmla="*/ 248770 w 495300"/>
              <a:gd name="connsiteY11" fmla="*/ 621 h 542925"/>
              <a:gd name="connsiteX12" fmla="*/ 192763 w 495300"/>
              <a:gd name="connsiteY12" fmla="*/ 489539 h 542925"/>
              <a:gd name="connsiteX13" fmla="*/ 172570 w 495300"/>
              <a:gd name="connsiteY13" fmla="*/ 524496 h 542925"/>
              <a:gd name="connsiteX14" fmla="*/ 324970 w 495300"/>
              <a:gd name="connsiteY14" fmla="*/ 524496 h 542925"/>
              <a:gd name="connsiteX15" fmla="*/ 304777 w 495300"/>
              <a:gd name="connsiteY15" fmla="*/ 489539 h 542925"/>
              <a:gd name="connsiteX16" fmla="*/ 248770 w 495300"/>
              <a:gd name="connsiteY16" fmla="*/ 495921 h 542925"/>
              <a:gd name="connsiteX17" fmla="*/ 192763 w 495300"/>
              <a:gd name="connsiteY17" fmla="*/ 489539 h 542925"/>
              <a:gd name="connsiteX18" fmla="*/ 248770 w 495300"/>
              <a:gd name="connsiteY18" fmla="*/ 143496 h 542925"/>
              <a:gd name="connsiteX19" fmla="*/ 143995 w 495300"/>
              <a:gd name="connsiteY19" fmla="*/ 248271 h 542925"/>
              <a:gd name="connsiteX20" fmla="*/ 248770 w 495300"/>
              <a:gd name="connsiteY20" fmla="*/ 353046 h 542925"/>
              <a:gd name="connsiteX21" fmla="*/ 353545 w 495300"/>
              <a:gd name="connsiteY21" fmla="*/ 248271 h 542925"/>
              <a:gd name="connsiteX22" fmla="*/ 248770 w 495300"/>
              <a:gd name="connsiteY22" fmla="*/ 143496 h 542925"/>
              <a:gd name="connsiteX23" fmla="*/ 367833 w 495300"/>
              <a:gd name="connsiteY23" fmla="*/ 114921 h 542925"/>
              <a:gd name="connsiteX24" fmla="*/ 353545 w 495300"/>
              <a:gd name="connsiteY24" fmla="*/ 129209 h 542925"/>
              <a:gd name="connsiteX25" fmla="*/ 367833 w 495300"/>
              <a:gd name="connsiteY25" fmla="*/ 143496 h 542925"/>
              <a:gd name="connsiteX26" fmla="*/ 382120 w 495300"/>
              <a:gd name="connsiteY26" fmla="*/ 129209 h 542925"/>
              <a:gd name="connsiteX27" fmla="*/ 367833 w 495300"/>
              <a:gd name="connsiteY27" fmla="*/ 114921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8770" y="621"/>
                </a:moveTo>
                <a:cubicBezTo>
                  <a:pt x="385549" y="621"/>
                  <a:pt x="496420" y="111492"/>
                  <a:pt x="496420" y="248271"/>
                </a:cubicBezTo>
                <a:cubicBezTo>
                  <a:pt x="496420" y="358856"/>
                  <a:pt x="423935" y="452582"/>
                  <a:pt x="323827" y="484396"/>
                </a:cubicBezTo>
                <a:lnTo>
                  <a:pt x="346973" y="524496"/>
                </a:lnTo>
                <a:lnTo>
                  <a:pt x="420220" y="524496"/>
                </a:lnTo>
                <a:lnTo>
                  <a:pt x="420220" y="543546"/>
                </a:lnTo>
                <a:lnTo>
                  <a:pt x="77320" y="543546"/>
                </a:lnTo>
                <a:lnTo>
                  <a:pt x="77320" y="524496"/>
                </a:lnTo>
                <a:lnTo>
                  <a:pt x="150567" y="524496"/>
                </a:lnTo>
                <a:lnTo>
                  <a:pt x="173713" y="484396"/>
                </a:lnTo>
                <a:cubicBezTo>
                  <a:pt x="73605" y="452582"/>
                  <a:pt x="1120" y="358856"/>
                  <a:pt x="1120" y="248271"/>
                </a:cubicBezTo>
                <a:cubicBezTo>
                  <a:pt x="1120" y="111492"/>
                  <a:pt x="111991" y="621"/>
                  <a:pt x="248770" y="621"/>
                </a:cubicBezTo>
                <a:close/>
                <a:moveTo>
                  <a:pt x="192763" y="489539"/>
                </a:moveTo>
                <a:lnTo>
                  <a:pt x="172570" y="524496"/>
                </a:lnTo>
                <a:lnTo>
                  <a:pt x="324970" y="524496"/>
                </a:lnTo>
                <a:lnTo>
                  <a:pt x="304777" y="489539"/>
                </a:lnTo>
                <a:cubicBezTo>
                  <a:pt x="286775" y="493730"/>
                  <a:pt x="268010" y="495921"/>
                  <a:pt x="248770" y="495921"/>
                </a:cubicBezTo>
                <a:cubicBezTo>
                  <a:pt x="229530" y="495921"/>
                  <a:pt x="210765" y="493730"/>
                  <a:pt x="192763" y="489539"/>
                </a:cubicBezTo>
                <a:close/>
                <a:moveTo>
                  <a:pt x="248770" y="143496"/>
                </a:moveTo>
                <a:cubicBezTo>
                  <a:pt x="190858" y="143496"/>
                  <a:pt x="143995" y="190359"/>
                  <a:pt x="143995" y="248271"/>
                </a:cubicBezTo>
                <a:cubicBezTo>
                  <a:pt x="143995" y="306183"/>
                  <a:pt x="190858" y="353046"/>
                  <a:pt x="248770" y="353046"/>
                </a:cubicBezTo>
                <a:cubicBezTo>
                  <a:pt x="306682" y="353046"/>
                  <a:pt x="353545" y="306183"/>
                  <a:pt x="353545" y="248271"/>
                </a:cubicBezTo>
                <a:cubicBezTo>
                  <a:pt x="353545" y="190359"/>
                  <a:pt x="306682" y="143496"/>
                  <a:pt x="248770" y="143496"/>
                </a:cubicBezTo>
                <a:close/>
                <a:moveTo>
                  <a:pt x="367833" y="114921"/>
                </a:moveTo>
                <a:cubicBezTo>
                  <a:pt x="359927" y="114921"/>
                  <a:pt x="353545" y="121303"/>
                  <a:pt x="353545" y="129209"/>
                </a:cubicBezTo>
                <a:cubicBezTo>
                  <a:pt x="353545" y="137114"/>
                  <a:pt x="359927" y="143496"/>
                  <a:pt x="367833" y="143496"/>
                </a:cubicBezTo>
                <a:cubicBezTo>
                  <a:pt x="375738" y="143496"/>
                  <a:pt x="382120" y="137114"/>
                  <a:pt x="382120" y="129209"/>
                </a:cubicBezTo>
                <a:cubicBezTo>
                  <a:pt x="382120" y="121303"/>
                  <a:pt x="375738" y="114921"/>
                  <a:pt x="367833" y="114921"/>
                </a:cubicBezTo>
                <a:close/>
              </a:path>
            </a:pathLst>
          </a:custGeom>
          <a:solidFill>
            <a:schemeClr val="bg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4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7" name="任意多边形 39">
            <a:extLst>
              <a:ext uri="{FF2B5EF4-FFF2-40B4-BE49-F238E27FC236}">
                <a16:creationId xmlns="" xmlns:a16="http://schemas.microsoft.com/office/drawing/2014/main" id="{0E1D7357-3422-4682-ABBD-4FA044AA1954}"/>
              </a:ext>
            </a:extLst>
          </p:cNvPr>
          <p:cNvSpPr/>
          <p:nvPr/>
        </p:nvSpPr>
        <p:spPr>
          <a:xfrm>
            <a:off x="8271174" y="1550489"/>
            <a:ext cx="220657" cy="183700"/>
          </a:xfrm>
          <a:custGeom>
            <a:avLst/>
            <a:gdLst>
              <a:gd name="connsiteX0" fmla="*/ 483573 w 526297"/>
              <a:gd name="connsiteY0" fmla="*/ 133971 h 438150"/>
              <a:gd name="connsiteX1" fmla="*/ 527674 w 526297"/>
              <a:gd name="connsiteY1" fmla="*/ 178072 h 438150"/>
              <a:gd name="connsiteX2" fmla="*/ 527579 w 526297"/>
              <a:gd name="connsiteY2" fmla="*/ 181501 h 438150"/>
              <a:gd name="connsiteX3" fmla="*/ 514244 w 526297"/>
              <a:gd name="connsiteY3" fmla="*/ 355237 h 438150"/>
              <a:gd name="connsiteX4" fmla="*/ 485764 w 526297"/>
              <a:gd name="connsiteY4" fmla="*/ 381621 h 438150"/>
              <a:gd name="connsiteX5" fmla="*/ 454998 w 526297"/>
              <a:gd name="connsiteY5" fmla="*/ 381621 h 438150"/>
              <a:gd name="connsiteX6" fmla="*/ 454998 w 526297"/>
              <a:gd name="connsiteY6" fmla="*/ 438771 h 438150"/>
              <a:gd name="connsiteX7" fmla="*/ 435948 w 526297"/>
              <a:gd name="connsiteY7" fmla="*/ 438771 h 438150"/>
              <a:gd name="connsiteX8" fmla="*/ 435948 w 526297"/>
              <a:gd name="connsiteY8" fmla="*/ 381621 h 438150"/>
              <a:gd name="connsiteX9" fmla="*/ 93048 w 526297"/>
              <a:gd name="connsiteY9" fmla="*/ 381621 h 438150"/>
              <a:gd name="connsiteX10" fmla="*/ 93048 w 526297"/>
              <a:gd name="connsiteY10" fmla="*/ 438771 h 438150"/>
              <a:gd name="connsiteX11" fmla="*/ 73998 w 526297"/>
              <a:gd name="connsiteY11" fmla="*/ 438771 h 438150"/>
              <a:gd name="connsiteX12" fmla="*/ 73998 w 526297"/>
              <a:gd name="connsiteY12" fmla="*/ 381621 h 438150"/>
              <a:gd name="connsiteX13" fmla="*/ 43328 w 526297"/>
              <a:gd name="connsiteY13" fmla="*/ 381621 h 438150"/>
              <a:gd name="connsiteX14" fmla="*/ 14848 w 526297"/>
              <a:gd name="connsiteY14" fmla="*/ 355237 h 438150"/>
              <a:gd name="connsiteX15" fmla="*/ 1513 w 526297"/>
              <a:gd name="connsiteY15" fmla="*/ 181501 h 438150"/>
              <a:gd name="connsiteX16" fmla="*/ 42089 w 526297"/>
              <a:gd name="connsiteY16" fmla="*/ 134162 h 438150"/>
              <a:gd name="connsiteX17" fmla="*/ 45518 w 526297"/>
              <a:gd name="connsiteY17" fmla="*/ 134066 h 438150"/>
              <a:gd name="connsiteX18" fmla="*/ 101906 w 526297"/>
              <a:gd name="connsiteY18" fmla="*/ 180834 h 438150"/>
              <a:gd name="connsiteX19" fmla="*/ 121623 w 526297"/>
              <a:gd name="connsiteY19" fmla="*/ 286371 h 438150"/>
              <a:gd name="connsiteX20" fmla="*/ 407373 w 526297"/>
              <a:gd name="connsiteY20" fmla="*/ 286371 h 438150"/>
              <a:gd name="connsiteX21" fmla="*/ 427185 w 526297"/>
              <a:gd name="connsiteY21" fmla="*/ 180739 h 438150"/>
              <a:gd name="connsiteX22" fmla="*/ 483573 w 526297"/>
              <a:gd name="connsiteY22" fmla="*/ 133971 h 438150"/>
              <a:gd name="connsiteX23" fmla="*/ 416898 w 526297"/>
              <a:gd name="connsiteY23" fmla="*/ 621 h 438150"/>
              <a:gd name="connsiteX24" fmla="*/ 483573 w 526297"/>
              <a:gd name="connsiteY24" fmla="*/ 67296 h 438150"/>
              <a:gd name="connsiteX25" fmla="*/ 483573 w 526297"/>
              <a:gd name="connsiteY25" fmla="*/ 115397 h 438150"/>
              <a:gd name="connsiteX26" fmla="*/ 476429 w 526297"/>
              <a:gd name="connsiteY26" fmla="*/ 114921 h 438150"/>
              <a:gd name="connsiteX27" fmla="*/ 412040 w 526297"/>
              <a:gd name="connsiteY27" fmla="*/ 166451 h 438150"/>
              <a:gd name="connsiteX28" fmla="*/ 411564 w 526297"/>
              <a:gd name="connsiteY28" fmla="*/ 168737 h 438150"/>
              <a:gd name="connsiteX29" fmla="*/ 393086 w 526297"/>
              <a:gd name="connsiteY29" fmla="*/ 267321 h 438150"/>
              <a:gd name="connsiteX30" fmla="*/ 135911 w 526297"/>
              <a:gd name="connsiteY30" fmla="*/ 267321 h 438150"/>
              <a:gd name="connsiteX31" fmla="*/ 117432 w 526297"/>
              <a:gd name="connsiteY31" fmla="*/ 168737 h 438150"/>
              <a:gd name="connsiteX32" fmla="*/ 52567 w 526297"/>
              <a:gd name="connsiteY32" fmla="*/ 114921 h 438150"/>
              <a:gd name="connsiteX33" fmla="*/ 54948 w 526297"/>
              <a:gd name="connsiteY33" fmla="*/ 67296 h 438150"/>
              <a:gd name="connsiteX34" fmla="*/ 121623 w 526297"/>
              <a:gd name="connsiteY34" fmla="*/ 621 h 438150"/>
              <a:gd name="connsiteX35" fmla="*/ 416898 w 526297"/>
              <a:gd name="connsiteY35" fmla="*/ 621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3573" y="133971"/>
                </a:moveTo>
                <a:cubicBezTo>
                  <a:pt x="507957" y="133971"/>
                  <a:pt x="527674" y="153688"/>
                  <a:pt x="527674" y="178072"/>
                </a:cubicBezTo>
                <a:cubicBezTo>
                  <a:pt x="527674" y="179215"/>
                  <a:pt x="527674" y="180358"/>
                  <a:pt x="527579" y="181501"/>
                </a:cubicBezTo>
                <a:lnTo>
                  <a:pt x="514244" y="355237"/>
                </a:lnTo>
                <a:cubicBezTo>
                  <a:pt x="513101" y="370096"/>
                  <a:pt x="500718" y="381621"/>
                  <a:pt x="485764" y="381621"/>
                </a:cubicBezTo>
                <a:lnTo>
                  <a:pt x="454998" y="381621"/>
                </a:lnTo>
                <a:lnTo>
                  <a:pt x="454998" y="438771"/>
                </a:lnTo>
                <a:lnTo>
                  <a:pt x="435948" y="438771"/>
                </a:lnTo>
                <a:lnTo>
                  <a:pt x="435948" y="381621"/>
                </a:lnTo>
                <a:lnTo>
                  <a:pt x="93048" y="381621"/>
                </a:lnTo>
                <a:lnTo>
                  <a:pt x="93048" y="438771"/>
                </a:lnTo>
                <a:lnTo>
                  <a:pt x="73998" y="438771"/>
                </a:lnTo>
                <a:lnTo>
                  <a:pt x="73998" y="381621"/>
                </a:lnTo>
                <a:lnTo>
                  <a:pt x="43328" y="381621"/>
                </a:lnTo>
                <a:cubicBezTo>
                  <a:pt x="28373" y="381621"/>
                  <a:pt x="15991" y="370096"/>
                  <a:pt x="14848" y="355237"/>
                </a:cubicBezTo>
                <a:lnTo>
                  <a:pt x="1513" y="181501"/>
                </a:lnTo>
                <a:cubicBezTo>
                  <a:pt x="-392" y="157212"/>
                  <a:pt x="17801" y="135971"/>
                  <a:pt x="42089" y="134162"/>
                </a:cubicBezTo>
                <a:cubicBezTo>
                  <a:pt x="43232" y="134066"/>
                  <a:pt x="44375" y="134066"/>
                  <a:pt x="45518" y="134066"/>
                </a:cubicBezTo>
                <a:cubicBezTo>
                  <a:pt x="73141" y="134066"/>
                  <a:pt x="96858" y="153688"/>
                  <a:pt x="101906" y="180834"/>
                </a:cubicBezTo>
                <a:lnTo>
                  <a:pt x="121623" y="286371"/>
                </a:lnTo>
                <a:lnTo>
                  <a:pt x="407373" y="286371"/>
                </a:lnTo>
                <a:lnTo>
                  <a:pt x="427185" y="180739"/>
                </a:lnTo>
                <a:cubicBezTo>
                  <a:pt x="432233" y="153592"/>
                  <a:pt x="455951" y="133971"/>
                  <a:pt x="483573" y="133971"/>
                </a:cubicBezTo>
                <a:close/>
                <a:moveTo>
                  <a:pt x="416898" y="621"/>
                </a:moveTo>
                <a:cubicBezTo>
                  <a:pt x="453760" y="621"/>
                  <a:pt x="483573" y="30434"/>
                  <a:pt x="483573" y="67296"/>
                </a:cubicBezTo>
                <a:lnTo>
                  <a:pt x="483573" y="115397"/>
                </a:lnTo>
                <a:cubicBezTo>
                  <a:pt x="481192" y="115112"/>
                  <a:pt x="478811" y="114921"/>
                  <a:pt x="476429" y="114921"/>
                </a:cubicBezTo>
                <a:cubicBezTo>
                  <a:pt x="445473" y="114921"/>
                  <a:pt x="418803" y="136448"/>
                  <a:pt x="412040" y="166451"/>
                </a:cubicBezTo>
                <a:lnTo>
                  <a:pt x="411564" y="168737"/>
                </a:lnTo>
                <a:lnTo>
                  <a:pt x="393086" y="267321"/>
                </a:lnTo>
                <a:lnTo>
                  <a:pt x="135911" y="267321"/>
                </a:lnTo>
                <a:lnTo>
                  <a:pt x="117432" y="168737"/>
                </a:lnTo>
                <a:cubicBezTo>
                  <a:pt x="111622" y="137495"/>
                  <a:pt x="84285" y="114921"/>
                  <a:pt x="52567" y="114921"/>
                </a:cubicBezTo>
                <a:lnTo>
                  <a:pt x="54948" y="67296"/>
                </a:lnTo>
                <a:cubicBezTo>
                  <a:pt x="54948" y="30434"/>
                  <a:pt x="84761" y="621"/>
                  <a:pt x="121623" y="621"/>
                </a:cubicBezTo>
                <a:lnTo>
                  <a:pt x="416898" y="621"/>
                </a:lnTo>
                <a:close/>
              </a:path>
            </a:pathLst>
          </a:custGeom>
          <a:solidFill>
            <a:schemeClr val="accent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1384828" y="3367224"/>
            <a:ext cx="3838769" cy="2294436"/>
            <a:chOff x="8262693" y="1905834"/>
            <a:chExt cx="3036354" cy="1814832"/>
          </a:xfrm>
        </p:grpSpPr>
        <p:sp>
          <p:nvSpPr>
            <p:cNvPr id="25" name="文本框 24"/>
            <p:cNvSpPr txBox="1"/>
            <p:nvPr/>
          </p:nvSpPr>
          <p:spPr>
            <a:xfrm>
              <a:off x="8264299" y="2241462"/>
              <a:ext cx="988286" cy="153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00" smtClean="0"/>
                <a:t>Endpoint Security Status Distribution</a:t>
              </a:r>
              <a:endParaRPr lang="zh-CN" altLang="en-US" sz="400"/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8262693" y="1905834"/>
              <a:ext cx="3036354" cy="1814832"/>
              <a:chOff x="8262693" y="1905834"/>
              <a:chExt cx="3036354" cy="1814832"/>
            </a:xfrm>
          </p:grpSpPr>
          <p:grpSp>
            <p:nvGrpSpPr>
              <p:cNvPr id="40" name="组合 39"/>
              <p:cNvGrpSpPr/>
              <p:nvPr/>
            </p:nvGrpSpPr>
            <p:grpSpPr>
              <a:xfrm>
                <a:off x="8262693" y="1905834"/>
                <a:ext cx="3036354" cy="1814832"/>
                <a:chOff x="8262693" y="1905834"/>
                <a:chExt cx="3036354" cy="1814832"/>
              </a:xfrm>
            </p:grpSpPr>
            <p:grpSp>
              <p:nvGrpSpPr>
                <p:cNvPr id="45" name="组合 44"/>
                <p:cNvGrpSpPr/>
                <p:nvPr/>
              </p:nvGrpSpPr>
              <p:grpSpPr>
                <a:xfrm>
                  <a:off x="8262693" y="1905834"/>
                  <a:ext cx="3036354" cy="1814832"/>
                  <a:chOff x="8262693" y="1905834"/>
                  <a:chExt cx="3036354" cy="1814832"/>
                </a:xfrm>
              </p:grpSpPr>
              <p:sp>
                <p:nvSpPr>
                  <p:cNvPr id="49" name="矩形 48"/>
                  <p:cNvSpPr/>
                  <p:nvPr/>
                </p:nvSpPr>
                <p:spPr>
                  <a:xfrm>
                    <a:off x="8361045" y="2295525"/>
                    <a:ext cx="704850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grpSp>
                <p:nvGrpSpPr>
                  <p:cNvPr id="50" name="组合 49"/>
                  <p:cNvGrpSpPr/>
                  <p:nvPr/>
                </p:nvGrpSpPr>
                <p:grpSpPr>
                  <a:xfrm>
                    <a:off x="8262693" y="1905834"/>
                    <a:ext cx="3036354" cy="1814832"/>
                    <a:chOff x="8262693" y="1905834"/>
                    <a:chExt cx="3036354" cy="1814832"/>
                  </a:xfrm>
                </p:grpSpPr>
                <p:grpSp>
                  <p:nvGrpSpPr>
                    <p:cNvPr id="51" name="组合 50"/>
                    <p:cNvGrpSpPr/>
                    <p:nvPr/>
                  </p:nvGrpSpPr>
                  <p:grpSpPr>
                    <a:xfrm>
                      <a:off x="8262693" y="1905834"/>
                      <a:ext cx="3036354" cy="1814832"/>
                      <a:chOff x="8262693" y="1905834"/>
                      <a:chExt cx="3036354" cy="1814832"/>
                    </a:xfrm>
                  </p:grpSpPr>
                  <p:pic>
                    <p:nvPicPr>
                      <p:cNvPr id="53" name="Picture 28">
                        <a:extLst>
                          <a:ext uri="{FF2B5EF4-FFF2-40B4-BE49-F238E27FC236}">
                            <a16:creationId xmlns:a16="http://schemas.microsoft.com/office/drawing/2014/main" xmlns="" id="{3A35D8D9-C784-4081-BF06-662AA598D52E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8262693" y="1905834"/>
                        <a:ext cx="3036354" cy="1814832"/>
                      </a:xfrm>
                      <a:prstGeom prst="rect">
                        <a:avLst/>
                      </a:prstGeom>
                      <a:ln>
                        <a:noFill/>
                      </a:ln>
                      <a:effectLst/>
                    </p:spPr>
                  </p:pic>
                  <p:sp>
                    <p:nvSpPr>
                      <p:cNvPr id="54" name="矩形 53"/>
                      <p:cNvSpPr/>
                      <p:nvPr/>
                    </p:nvSpPr>
                    <p:spPr>
                      <a:xfrm>
                        <a:off x="8361045" y="2131695"/>
                        <a:ext cx="457200" cy="66675"/>
                      </a:xfrm>
                      <a:prstGeom prst="rect">
                        <a:avLst/>
                      </a:prstGeom>
                      <a:solidFill>
                        <a:schemeClr val="bg1">
                          <a:lumMod val="95000"/>
                        </a:schemeClr>
                      </a:solidFill>
                      <a:ln>
                        <a:solidFill>
                          <a:schemeClr val="bg1">
                            <a:lumMod val="95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/>
                      </a:p>
                    </p:txBody>
                  </p:sp>
                </p:grpSp>
                <p:sp>
                  <p:nvSpPr>
                    <p:cNvPr id="52" name="文本框 51"/>
                    <p:cNvSpPr txBox="1"/>
                    <p:nvPr/>
                  </p:nvSpPr>
                  <p:spPr>
                    <a:xfrm>
                      <a:off x="8273824" y="2083651"/>
                      <a:ext cx="788670" cy="16927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altLang="zh-CN" sz="500" b="1" smtClean="0"/>
                        <a:t>Endpoint Overview</a:t>
                      </a:r>
                      <a:endParaRPr lang="zh-CN" altLang="en-US" sz="500" b="1"/>
                    </a:p>
                  </p:txBody>
                </p:sp>
              </p:grpSp>
            </p:grpSp>
            <p:sp>
              <p:nvSpPr>
                <p:cNvPr id="48" name="矩形 47"/>
                <p:cNvSpPr/>
                <p:nvPr/>
              </p:nvSpPr>
              <p:spPr>
                <a:xfrm>
                  <a:off x="8505825" y="2690599"/>
                  <a:ext cx="226695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43" name="文本框 42"/>
              <p:cNvSpPr txBox="1"/>
              <p:nvPr/>
            </p:nvSpPr>
            <p:spPr>
              <a:xfrm>
                <a:off x="8477432" y="2661726"/>
                <a:ext cx="321766" cy="103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50" b="1" smtClean="0">
                    <a:solidFill>
                      <a:schemeClr val="bg1">
                        <a:lumMod val="50000"/>
                      </a:schemeClr>
                    </a:solidFill>
                  </a:rPr>
                  <a:t>Risky Endpoints</a:t>
                </a:r>
                <a:endParaRPr lang="zh-CN" altLang="en-US" sz="250" b="1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34" name="矩形 33"/>
            <p:cNvSpPr/>
            <p:nvPr/>
          </p:nvSpPr>
          <p:spPr>
            <a:xfrm>
              <a:off x="8361045" y="2303558"/>
              <a:ext cx="704850" cy="459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8273824" y="2252326"/>
              <a:ext cx="1186646" cy="153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00" b="1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Endpoint Security Status Distribution</a:t>
              </a:r>
              <a:endParaRPr lang="zh-CN" altLang="en-US" sz="400" b="1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pic>
        <p:nvPicPr>
          <p:cNvPr id="55" name="Picture 29">
            <a:extLst>
              <a:ext uri="{FF2B5EF4-FFF2-40B4-BE49-F238E27FC236}">
                <a16:creationId xmlns:a16="http://schemas.microsoft.com/office/drawing/2014/main" xmlns="" id="{6F25FF0E-9CF1-4683-A5A2-B8132CB7C8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8434" y="3253973"/>
            <a:ext cx="4335110" cy="2407687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3006881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XDR Eco-Syste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4A018EF9-1DBC-4076-8669-3FA757A84306}"/>
              </a:ext>
            </a:extLst>
          </p:cNvPr>
          <p:cNvSpPr/>
          <p:nvPr/>
        </p:nvSpPr>
        <p:spPr>
          <a:xfrm>
            <a:off x="587375" y="1258569"/>
            <a:ext cx="5363482" cy="5741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600" b="1">
                <a:latin typeface="Arial" panose="020B0604020202020204" pitchFamily="34" charset="0"/>
                <a:cs typeface="Arial" panose="020B0604020202020204" pitchFamily="34" charset="0"/>
              </a:rPr>
              <a:t>3rd Party Log Integration</a:t>
            </a:r>
            <a:endParaRPr lang="x-non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780E0AC1-6983-4936-A321-9BDEE4F85FD1}"/>
              </a:ext>
            </a:extLst>
          </p:cNvPr>
          <p:cNvSpPr/>
          <p:nvPr/>
        </p:nvSpPr>
        <p:spPr>
          <a:xfrm>
            <a:off x="6241068" y="1258569"/>
            <a:ext cx="5363482" cy="5741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600" b="1">
                <a:latin typeface="Arial" panose="020B0604020202020204" pitchFamily="34" charset="0"/>
                <a:cs typeface="Arial" panose="020B0604020202020204" pitchFamily="34" charset="0"/>
              </a:rPr>
              <a:t>3rd Party Product Integration (Enforcement Point)</a:t>
            </a:r>
            <a:endParaRPr lang="x-non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îŝļiḓe">
            <a:extLst>
              <a:ext uri="{FF2B5EF4-FFF2-40B4-BE49-F238E27FC236}">
                <a16:creationId xmlns="" xmlns:a16="http://schemas.microsoft.com/office/drawing/2014/main" id="{EE6CBFE9-8C77-4631-930C-8198027B466E}"/>
              </a:ext>
            </a:extLst>
          </p:cNvPr>
          <p:cNvGrpSpPr/>
          <p:nvPr/>
        </p:nvGrpSpPr>
        <p:grpSpPr>
          <a:xfrm>
            <a:off x="820785" y="1990993"/>
            <a:ext cx="5102898" cy="4159250"/>
            <a:chOff x="5416237" y="1336207"/>
            <a:chExt cx="5679970" cy="4744494"/>
          </a:xfrm>
        </p:grpSpPr>
        <p:sp>
          <p:nvSpPr>
            <p:cNvPr id="30" name="íšļîḍê">
              <a:extLst>
                <a:ext uri="{FF2B5EF4-FFF2-40B4-BE49-F238E27FC236}">
                  <a16:creationId xmlns="" xmlns:a16="http://schemas.microsoft.com/office/drawing/2014/main" id="{2896E045-9579-41FE-94D6-CDC90EB3A92A}"/>
                </a:ext>
              </a:extLst>
            </p:cNvPr>
            <p:cNvSpPr txBox="1"/>
            <p:nvPr/>
          </p:nvSpPr>
          <p:spPr>
            <a:xfrm>
              <a:off x="5425241" y="1570875"/>
              <a:ext cx="1801733" cy="38619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altLang="zh-CN" sz="11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Log Parsing Configuration Database</a:t>
              </a:r>
              <a:endParaRPr lang="zh-CN" altLang="en-US" sz="11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1" name="îŝļíḋê">
              <a:extLst>
                <a:ext uri="{FF2B5EF4-FFF2-40B4-BE49-F238E27FC236}">
                  <a16:creationId xmlns="" xmlns:a16="http://schemas.microsoft.com/office/drawing/2014/main" id="{3A4C3195-28C2-4946-9A08-EE0BF44F5090}"/>
                </a:ext>
              </a:extLst>
            </p:cNvPr>
            <p:cNvSpPr/>
            <p:nvPr/>
          </p:nvSpPr>
          <p:spPr>
            <a:xfrm>
              <a:off x="5619391" y="2073477"/>
              <a:ext cx="1607582" cy="315975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US" altLang="zh-CN" sz="9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Up-to-date pre-defined configurations of log parsing</a:t>
              </a:r>
              <a:endParaRPr lang="zh-CN" altLang="en-US" sz="9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2" name="ïṧḻïḍe">
              <a:extLst>
                <a:ext uri="{FF2B5EF4-FFF2-40B4-BE49-F238E27FC236}">
                  <a16:creationId xmlns="" xmlns:a16="http://schemas.microsoft.com/office/drawing/2014/main" id="{61A1DC15-D5CD-412C-9F43-A39A56F4EF8F}"/>
                </a:ext>
              </a:extLst>
            </p:cNvPr>
            <p:cNvSpPr txBox="1"/>
            <p:nvPr/>
          </p:nvSpPr>
          <p:spPr>
            <a:xfrm>
              <a:off x="5437311" y="3402220"/>
              <a:ext cx="1810736" cy="19309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altLang="zh-CN" sz="1100" b="1" dirty="0">
                  <a:solidFill>
                    <a:schemeClr val="accent4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Log Parse Template</a:t>
              </a:r>
            </a:p>
          </p:txBody>
        </p:sp>
        <p:sp>
          <p:nvSpPr>
            <p:cNvPr id="33" name="îśľîḋê">
              <a:extLst>
                <a:ext uri="{FF2B5EF4-FFF2-40B4-BE49-F238E27FC236}">
                  <a16:creationId xmlns="" xmlns:a16="http://schemas.microsoft.com/office/drawing/2014/main" id="{AAA06D28-4E62-4670-825B-EFB41D0C7801}"/>
                </a:ext>
              </a:extLst>
            </p:cNvPr>
            <p:cNvSpPr/>
            <p:nvPr/>
          </p:nvSpPr>
          <p:spPr>
            <a:xfrm>
              <a:off x="5416238" y="3652403"/>
              <a:ext cx="1810734" cy="631951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US" altLang="zh-CN" sz="9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Define log parsing workflow for a specific type of log of a specific model </a:t>
              </a:r>
              <a:endParaRPr lang="zh-CN" altLang="en-US" sz="9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  <a:p>
              <a:pPr algn="r"/>
              <a:endParaRPr lang="zh-CN" altLang="en-US" sz="9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4" name="ïŝḻîḍé">
              <a:extLst>
                <a:ext uri="{FF2B5EF4-FFF2-40B4-BE49-F238E27FC236}">
                  <a16:creationId xmlns="" xmlns:a16="http://schemas.microsoft.com/office/drawing/2014/main" id="{D41D0561-231C-425C-97C0-5EC286FABDAD}"/>
                </a:ext>
              </a:extLst>
            </p:cNvPr>
            <p:cNvSpPr txBox="1"/>
            <p:nvPr/>
          </p:nvSpPr>
          <p:spPr>
            <a:xfrm>
              <a:off x="5416237" y="5109763"/>
              <a:ext cx="1810736" cy="19309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altLang="zh-CN" sz="11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Log Parse Rule</a:t>
              </a:r>
            </a:p>
          </p:txBody>
        </p:sp>
        <p:sp>
          <p:nvSpPr>
            <p:cNvPr id="35" name="î$ľiḓé">
              <a:extLst>
                <a:ext uri="{FF2B5EF4-FFF2-40B4-BE49-F238E27FC236}">
                  <a16:creationId xmlns="" xmlns:a16="http://schemas.microsoft.com/office/drawing/2014/main" id="{EBDF299A-2419-4B95-A996-84D4688E8AB1}"/>
                </a:ext>
              </a:extLst>
            </p:cNvPr>
            <p:cNvSpPr/>
            <p:nvPr/>
          </p:nvSpPr>
          <p:spPr>
            <a:xfrm>
              <a:off x="5619391" y="5344000"/>
              <a:ext cx="1607582" cy="47171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t">
              <a:noAutofit/>
            </a:bodyPr>
            <a:lstStyle/>
            <a:p>
              <a:pPr algn="r"/>
              <a:r>
                <a:rPr lang="en-US" altLang="zh-CN" sz="9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</a:t>
              </a:r>
              <a:r>
                <a:rPr lang="en-US" altLang="zh-CN" sz="900" dirty="0" smtClean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sociate </a:t>
              </a:r>
              <a:r>
                <a:rPr lang="en-US" altLang="zh-CN" sz="9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log parsing configurations that will be applied to the range of  devices that generate 3rd party logs</a:t>
              </a:r>
              <a:endParaRPr lang="zh-CN" altLang="en-US" sz="9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6" name="íŝḻiḍê">
              <a:extLst>
                <a:ext uri="{FF2B5EF4-FFF2-40B4-BE49-F238E27FC236}">
                  <a16:creationId xmlns="" xmlns:a16="http://schemas.microsoft.com/office/drawing/2014/main" id="{CB0B37D4-67CE-4D3B-A374-4222C549C608}"/>
                </a:ext>
              </a:extLst>
            </p:cNvPr>
            <p:cNvSpPr txBox="1"/>
            <p:nvPr/>
          </p:nvSpPr>
          <p:spPr>
            <a:xfrm flipH="1">
              <a:off x="9043888" y="2315023"/>
              <a:ext cx="2052319" cy="38619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altLang="zh-CN" sz="11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Custom Log Parsing Configuration</a:t>
              </a:r>
            </a:p>
          </p:txBody>
        </p:sp>
        <p:sp>
          <p:nvSpPr>
            <p:cNvPr id="37" name="ïSľîḍé">
              <a:extLst>
                <a:ext uri="{FF2B5EF4-FFF2-40B4-BE49-F238E27FC236}">
                  <a16:creationId xmlns="" xmlns:a16="http://schemas.microsoft.com/office/drawing/2014/main" id="{7BE7E6B2-0E58-4584-AF59-BB580E2C5E10}"/>
                </a:ext>
              </a:extLst>
            </p:cNvPr>
            <p:cNvSpPr/>
            <p:nvPr/>
          </p:nvSpPr>
          <p:spPr>
            <a:xfrm flipH="1">
              <a:off x="9056162" y="2809280"/>
              <a:ext cx="1475562" cy="157987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t">
              <a:spAutoFit/>
            </a:bodyPr>
            <a:lstStyle/>
            <a:p>
              <a:endParaRPr lang="zh-CN" altLang="en-US" sz="9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8" name="iṥlïdê">
              <a:extLst>
                <a:ext uri="{FF2B5EF4-FFF2-40B4-BE49-F238E27FC236}">
                  <a16:creationId xmlns="" xmlns:a16="http://schemas.microsoft.com/office/drawing/2014/main" id="{BC511500-F701-4AF5-9DFD-8219473CB2EE}"/>
                </a:ext>
              </a:extLst>
            </p:cNvPr>
            <p:cNvSpPr txBox="1"/>
            <p:nvPr/>
          </p:nvSpPr>
          <p:spPr>
            <a:xfrm flipH="1">
              <a:off x="9056162" y="4008586"/>
              <a:ext cx="1810736" cy="38619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altLang="zh-CN" sz="1100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Threat Log Standardization</a:t>
              </a:r>
            </a:p>
          </p:txBody>
        </p:sp>
        <p:sp>
          <p:nvSpPr>
            <p:cNvPr id="39" name="îṧľïḍê">
              <a:extLst>
                <a:ext uri="{FF2B5EF4-FFF2-40B4-BE49-F238E27FC236}">
                  <a16:creationId xmlns="" xmlns:a16="http://schemas.microsoft.com/office/drawing/2014/main" id="{A847A2D4-68B7-4F62-B837-E378FCAE8D81}"/>
                </a:ext>
              </a:extLst>
            </p:cNvPr>
            <p:cNvSpPr/>
            <p:nvPr/>
          </p:nvSpPr>
          <p:spPr>
            <a:xfrm flipH="1">
              <a:off x="9056162" y="4503345"/>
              <a:ext cx="1475562" cy="473962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altLang="zh-CN" sz="900" dirty="0" smtClean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Transform </a:t>
              </a:r>
              <a:r>
                <a:rPr lang="en-US" altLang="zh-CN" sz="9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3</a:t>
              </a:r>
              <a:r>
                <a:rPr lang="en-US" altLang="zh-CN" sz="900" baseline="300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rd</a:t>
              </a:r>
              <a:r>
                <a:rPr lang="en-US" altLang="zh-CN" sz="9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 party logs to Hillstone standard log format</a:t>
              </a:r>
              <a:endParaRPr lang="zh-CN" altLang="en-US" sz="9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grpSp>
          <p:nvGrpSpPr>
            <p:cNvPr id="40" name="íṧļïḓé">
              <a:extLst>
                <a:ext uri="{FF2B5EF4-FFF2-40B4-BE49-F238E27FC236}">
                  <a16:creationId xmlns="" xmlns:a16="http://schemas.microsoft.com/office/drawing/2014/main" id="{52C9183C-FFF5-4809-A431-A02FCCBF52CC}"/>
                </a:ext>
              </a:extLst>
            </p:cNvPr>
            <p:cNvGrpSpPr/>
            <p:nvPr/>
          </p:nvGrpSpPr>
          <p:grpSpPr>
            <a:xfrm>
              <a:off x="7396333" y="1336207"/>
              <a:ext cx="1619665" cy="4744494"/>
              <a:chOff x="7328656" y="1336207"/>
              <a:chExt cx="1619665" cy="4744494"/>
            </a:xfrm>
          </p:grpSpPr>
          <p:sp>
            <p:nvSpPr>
              <p:cNvPr id="43" name="îSlïḍé">
                <a:extLst>
                  <a:ext uri="{FF2B5EF4-FFF2-40B4-BE49-F238E27FC236}">
                    <a16:creationId xmlns="" xmlns:a16="http://schemas.microsoft.com/office/drawing/2014/main" id="{F8B85D79-D3AF-4FE2-97E4-52170B48EC3E}"/>
                  </a:ext>
                </a:extLst>
              </p:cNvPr>
              <p:cNvSpPr/>
              <p:nvPr/>
            </p:nvSpPr>
            <p:spPr>
              <a:xfrm>
                <a:off x="7457238" y="1336207"/>
                <a:ext cx="1254218" cy="1419368"/>
              </a:xfrm>
              <a:prstGeom prst="rightArrow">
                <a:avLst>
                  <a:gd name="adj1" fmla="val 100000"/>
                  <a:gd name="adj2" fmla="val 10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48" name="îŝļïde">
                <a:extLst>
                  <a:ext uri="{FF2B5EF4-FFF2-40B4-BE49-F238E27FC236}">
                    <a16:creationId xmlns="" xmlns:a16="http://schemas.microsoft.com/office/drawing/2014/main" id="{4DD80FA3-2F5D-4CCD-86F2-1F50055D13A6}"/>
                  </a:ext>
                </a:extLst>
              </p:cNvPr>
              <p:cNvSpPr/>
              <p:nvPr/>
            </p:nvSpPr>
            <p:spPr>
              <a:xfrm>
                <a:off x="7457238" y="2998770"/>
                <a:ext cx="1254218" cy="1419368"/>
              </a:xfrm>
              <a:prstGeom prst="rightArrow">
                <a:avLst>
                  <a:gd name="adj1" fmla="val 100000"/>
                  <a:gd name="adj2" fmla="val 100000"/>
                </a:avLst>
              </a:prstGeom>
              <a:solidFill>
                <a:srgbClr val="0070C0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49" name="íşlídé">
                <a:extLst>
                  <a:ext uri="{FF2B5EF4-FFF2-40B4-BE49-F238E27FC236}">
                    <a16:creationId xmlns="" xmlns:a16="http://schemas.microsoft.com/office/drawing/2014/main" id="{AB3A3056-F4D6-4E71-8070-A1A7C0A1A6AD}"/>
                  </a:ext>
                </a:extLst>
              </p:cNvPr>
              <p:cNvSpPr/>
              <p:nvPr/>
            </p:nvSpPr>
            <p:spPr>
              <a:xfrm>
                <a:off x="7457238" y="4661333"/>
                <a:ext cx="1254218" cy="1419368"/>
              </a:xfrm>
              <a:prstGeom prst="rightArrow">
                <a:avLst>
                  <a:gd name="adj1" fmla="val 100000"/>
                  <a:gd name="adj2" fmla="val 10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50" name="ïṧ1iḑê">
                <a:extLst>
                  <a:ext uri="{FF2B5EF4-FFF2-40B4-BE49-F238E27FC236}">
                    <a16:creationId xmlns="" xmlns:a16="http://schemas.microsoft.com/office/drawing/2014/main" id="{32DAF8F4-07D7-469F-943F-2E17E7DF92F2}"/>
                  </a:ext>
                </a:extLst>
              </p:cNvPr>
              <p:cNvSpPr/>
              <p:nvPr/>
            </p:nvSpPr>
            <p:spPr>
              <a:xfrm flipH="1">
                <a:off x="7605524" y="2160117"/>
                <a:ext cx="1254218" cy="1419368"/>
              </a:xfrm>
              <a:prstGeom prst="rightArrow">
                <a:avLst>
                  <a:gd name="adj1" fmla="val 100000"/>
                  <a:gd name="adj2" fmla="val 10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52" name="ísļidé">
                <a:extLst>
                  <a:ext uri="{FF2B5EF4-FFF2-40B4-BE49-F238E27FC236}">
                    <a16:creationId xmlns="" xmlns:a16="http://schemas.microsoft.com/office/drawing/2014/main" id="{557D1AFF-A7BC-4B49-8877-AD79DC99589E}"/>
                  </a:ext>
                </a:extLst>
              </p:cNvPr>
              <p:cNvSpPr/>
              <p:nvPr/>
            </p:nvSpPr>
            <p:spPr>
              <a:xfrm flipH="1">
                <a:off x="7605524" y="3822680"/>
                <a:ext cx="1254218" cy="1419368"/>
              </a:xfrm>
              <a:prstGeom prst="rightArrow">
                <a:avLst>
                  <a:gd name="adj1" fmla="val 100000"/>
                  <a:gd name="adj2" fmla="val 10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55" name="îŝľîdè">
                <a:extLst>
                  <a:ext uri="{FF2B5EF4-FFF2-40B4-BE49-F238E27FC236}">
                    <a16:creationId xmlns="" xmlns:a16="http://schemas.microsoft.com/office/drawing/2014/main" id="{C822AC94-23F2-41B2-88FD-4E23A4A43D40}"/>
                  </a:ext>
                </a:extLst>
              </p:cNvPr>
              <p:cNvSpPr txBox="1"/>
              <p:nvPr/>
            </p:nvSpPr>
            <p:spPr>
              <a:xfrm>
                <a:off x="7328656" y="1861898"/>
                <a:ext cx="1168085" cy="3131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100" dirty="0"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"/>
                  </a:rPr>
                  <a:t>01</a:t>
                </a:r>
                <a:endParaRPr lang="zh-CN" altLang="en-US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56" name="isľîdè">
                <a:extLst>
                  <a:ext uri="{FF2B5EF4-FFF2-40B4-BE49-F238E27FC236}">
                    <a16:creationId xmlns="" xmlns:a16="http://schemas.microsoft.com/office/drawing/2014/main" id="{CCAC19A3-C351-4FA2-8400-56D569755B17}"/>
                  </a:ext>
                </a:extLst>
              </p:cNvPr>
              <p:cNvSpPr txBox="1"/>
              <p:nvPr/>
            </p:nvSpPr>
            <p:spPr>
              <a:xfrm>
                <a:off x="7780236" y="2670148"/>
                <a:ext cx="1168085" cy="3131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100" dirty="0"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"/>
                  </a:rPr>
                  <a:t>02</a:t>
                </a:r>
                <a:endParaRPr lang="zh-CN" altLang="en-US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57" name="ísļiḓè">
                <a:extLst>
                  <a:ext uri="{FF2B5EF4-FFF2-40B4-BE49-F238E27FC236}">
                    <a16:creationId xmlns="" xmlns:a16="http://schemas.microsoft.com/office/drawing/2014/main" id="{11C937F7-41D8-46D4-A6DE-37E028173BD5}"/>
                  </a:ext>
                </a:extLst>
              </p:cNvPr>
              <p:cNvSpPr txBox="1"/>
              <p:nvPr/>
            </p:nvSpPr>
            <p:spPr>
              <a:xfrm>
                <a:off x="7328656" y="3509260"/>
                <a:ext cx="1168085" cy="3131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100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"/>
                  </a:rPr>
                  <a:t>03</a:t>
                </a:r>
                <a:endParaRPr lang="zh-CN" altLang="en-US" sz="1100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58" name="íṧļiḍé">
                <a:extLst>
                  <a:ext uri="{FF2B5EF4-FFF2-40B4-BE49-F238E27FC236}">
                    <a16:creationId xmlns="" xmlns:a16="http://schemas.microsoft.com/office/drawing/2014/main" id="{6C771C0D-E732-4A16-94BA-16FF969541D9}"/>
                  </a:ext>
                </a:extLst>
              </p:cNvPr>
              <p:cNvSpPr txBox="1"/>
              <p:nvPr/>
            </p:nvSpPr>
            <p:spPr>
              <a:xfrm>
                <a:off x="7780236" y="4348372"/>
                <a:ext cx="1168085" cy="3131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100" dirty="0"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"/>
                  </a:rPr>
                  <a:t>04</a:t>
                </a:r>
                <a:endParaRPr lang="zh-CN" altLang="en-US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  <p:sp>
            <p:nvSpPr>
              <p:cNvPr id="59" name="ïṩlïḍé">
                <a:extLst>
                  <a:ext uri="{FF2B5EF4-FFF2-40B4-BE49-F238E27FC236}">
                    <a16:creationId xmlns="" xmlns:a16="http://schemas.microsoft.com/office/drawing/2014/main" id="{3B733EFA-7D02-4B7D-8DA6-605B522A33A2}"/>
                  </a:ext>
                </a:extLst>
              </p:cNvPr>
              <p:cNvSpPr txBox="1"/>
              <p:nvPr/>
            </p:nvSpPr>
            <p:spPr>
              <a:xfrm>
                <a:off x="7328656" y="5156621"/>
                <a:ext cx="1168085" cy="3131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100" dirty="0"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"/>
                  </a:rPr>
                  <a:t>05</a:t>
                </a:r>
                <a:endParaRPr lang="zh-CN" altLang="en-US" sz="11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endParaRPr>
              </a:p>
            </p:txBody>
          </p:sp>
        </p:grpSp>
      </p:grpSp>
      <p:sp>
        <p:nvSpPr>
          <p:cNvPr id="64" name="íṥḻîďé">
            <a:extLst>
              <a:ext uri="{FF2B5EF4-FFF2-40B4-BE49-F238E27FC236}">
                <a16:creationId xmlns="" xmlns:a16="http://schemas.microsoft.com/office/drawing/2014/main" id="{6AEEBB43-FD22-4532-8620-41E34293B39E}"/>
              </a:ext>
            </a:extLst>
          </p:cNvPr>
          <p:cNvSpPr txBox="1"/>
          <p:nvPr/>
        </p:nvSpPr>
        <p:spPr>
          <a:xfrm>
            <a:off x="8890265" y="2359506"/>
            <a:ext cx="226226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RESTful API</a:t>
            </a:r>
            <a:endParaRPr lang="zh-CN" alt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65" name="îṥ1iďê">
            <a:extLst>
              <a:ext uri="{FF2B5EF4-FFF2-40B4-BE49-F238E27FC236}">
                <a16:creationId xmlns="" xmlns:a16="http://schemas.microsoft.com/office/drawing/2014/main" id="{58D750C3-40D6-45F9-9CDA-A1DB1B2C8DBB}"/>
              </a:ext>
            </a:extLst>
          </p:cNvPr>
          <p:cNvSpPr txBox="1"/>
          <p:nvPr/>
        </p:nvSpPr>
        <p:spPr>
          <a:xfrm>
            <a:off x="8890266" y="2590629"/>
            <a:ext cx="267552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3rd party security device interaction over RESTful APIs</a:t>
            </a:r>
          </a:p>
        </p:txBody>
      </p:sp>
      <p:sp>
        <p:nvSpPr>
          <p:cNvPr id="68" name="îSľîḓe">
            <a:extLst>
              <a:ext uri="{FF2B5EF4-FFF2-40B4-BE49-F238E27FC236}">
                <a16:creationId xmlns="" xmlns:a16="http://schemas.microsoft.com/office/drawing/2014/main" id="{1C6C3E47-E55B-4084-8AAB-D836E0D9133C}"/>
              </a:ext>
            </a:extLst>
          </p:cNvPr>
          <p:cNvSpPr txBox="1"/>
          <p:nvPr/>
        </p:nvSpPr>
        <p:spPr>
          <a:xfrm>
            <a:off x="8922809" y="4929130"/>
            <a:ext cx="21488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SH</a:t>
            </a:r>
            <a:endParaRPr lang="zh-CN" alt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69" name="íşľîdé">
            <a:extLst>
              <a:ext uri="{FF2B5EF4-FFF2-40B4-BE49-F238E27FC236}">
                <a16:creationId xmlns="" xmlns:a16="http://schemas.microsoft.com/office/drawing/2014/main" id="{2DE31AC0-5219-443C-A7D7-04A1EA04D189}"/>
              </a:ext>
            </a:extLst>
          </p:cNvPr>
          <p:cNvSpPr txBox="1"/>
          <p:nvPr/>
        </p:nvSpPr>
        <p:spPr>
          <a:xfrm>
            <a:off x="8922809" y="5137243"/>
            <a:ext cx="203094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upport 3rd party security device interaction over SSH</a:t>
            </a:r>
          </a:p>
        </p:txBody>
      </p:sp>
      <p:pic>
        <p:nvPicPr>
          <p:cNvPr id="70" name="图片 13">
            <a:extLst>
              <a:ext uri="{FF2B5EF4-FFF2-40B4-BE49-F238E27FC236}">
                <a16:creationId xmlns="" xmlns:a16="http://schemas.microsoft.com/office/drawing/2014/main" id="{810F5200-77E7-45E9-8408-91AB2FFFCD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5542" y="3627927"/>
            <a:ext cx="826637" cy="651901"/>
          </a:xfrm>
          <a:prstGeom prst="rect">
            <a:avLst/>
          </a:prstGeom>
        </p:spPr>
      </p:pic>
      <p:sp>
        <p:nvSpPr>
          <p:cNvPr id="71" name="firewall_336701">
            <a:extLst>
              <a:ext uri="{FF2B5EF4-FFF2-40B4-BE49-F238E27FC236}">
                <a16:creationId xmlns="" xmlns:a16="http://schemas.microsoft.com/office/drawing/2014/main" id="{4E90DE28-DB82-4C8F-B31B-5BC04BDF1339}"/>
              </a:ext>
            </a:extLst>
          </p:cNvPr>
          <p:cNvSpPr/>
          <p:nvPr/>
        </p:nvSpPr>
        <p:spPr>
          <a:xfrm>
            <a:off x="8112125" y="3733539"/>
            <a:ext cx="433778" cy="360937"/>
          </a:xfrm>
          <a:custGeom>
            <a:avLst/>
            <a:gdLst>
              <a:gd name="connsiteX0" fmla="*/ 557809 w 608485"/>
              <a:gd name="connsiteY0" fmla="*/ 354380 h 506307"/>
              <a:gd name="connsiteX1" fmla="*/ 608485 w 608485"/>
              <a:gd name="connsiteY1" fmla="*/ 354380 h 506307"/>
              <a:gd name="connsiteX2" fmla="*/ 608485 w 608485"/>
              <a:gd name="connsiteY2" fmla="*/ 480909 h 506307"/>
              <a:gd name="connsiteX3" fmla="*/ 583147 w 608485"/>
              <a:gd name="connsiteY3" fmla="*/ 506307 h 506307"/>
              <a:gd name="connsiteX4" fmla="*/ 473070 w 608485"/>
              <a:gd name="connsiteY4" fmla="*/ 506307 h 506307"/>
              <a:gd name="connsiteX5" fmla="*/ 513351 w 608485"/>
              <a:gd name="connsiteY5" fmla="*/ 473308 h 506307"/>
              <a:gd name="connsiteX6" fmla="*/ 557809 w 608485"/>
              <a:gd name="connsiteY6" fmla="*/ 354380 h 506307"/>
              <a:gd name="connsiteX7" fmla="*/ 202875 w 608485"/>
              <a:gd name="connsiteY7" fmla="*/ 354380 h 506307"/>
              <a:gd name="connsiteX8" fmla="*/ 206495 w 608485"/>
              <a:gd name="connsiteY8" fmla="*/ 354380 h 506307"/>
              <a:gd name="connsiteX9" fmla="*/ 249566 w 608485"/>
              <a:gd name="connsiteY9" fmla="*/ 471639 h 506307"/>
              <a:gd name="connsiteX10" fmla="*/ 291152 w 608485"/>
              <a:gd name="connsiteY10" fmla="*/ 506307 h 506307"/>
              <a:gd name="connsiteX11" fmla="*/ 202875 w 608485"/>
              <a:gd name="connsiteY11" fmla="*/ 506307 h 506307"/>
              <a:gd name="connsiteX12" fmla="*/ 0 w 608485"/>
              <a:gd name="connsiteY12" fmla="*/ 354380 h 506307"/>
              <a:gd name="connsiteX13" fmla="*/ 152068 w 608485"/>
              <a:gd name="connsiteY13" fmla="*/ 354380 h 506307"/>
              <a:gd name="connsiteX14" fmla="*/ 152068 w 608485"/>
              <a:gd name="connsiteY14" fmla="*/ 506307 h 506307"/>
              <a:gd name="connsiteX15" fmla="*/ 25345 w 608485"/>
              <a:gd name="connsiteY15" fmla="*/ 506307 h 506307"/>
              <a:gd name="connsiteX16" fmla="*/ 0 w 608485"/>
              <a:gd name="connsiteY16" fmla="*/ 480909 h 506307"/>
              <a:gd name="connsiteX17" fmla="*/ 507030 w 608485"/>
              <a:gd name="connsiteY17" fmla="*/ 202593 h 506307"/>
              <a:gd name="connsiteX18" fmla="*/ 608485 w 608485"/>
              <a:gd name="connsiteY18" fmla="*/ 202593 h 506307"/>
              <a:gd name="connsiteX19" fmla="*/ 608485 w 608485"/>
              <a:gd name="connsiteY19" fmla="*/ 303784 h 506307"/>
              <a:gd name="connsiteX20" fmla="*/ 549357 w 608485"/>
              <a:gd name="connsiteY20" fmla="*/ 303784 h 506307"/>
              <a:gd name="connsiteX21" fmla="*/ 512228 w 608485"/>
              <a:gd name="connsiteY21" fmla="*/ 236138 h 506307"/>
              <a:gd name="connsiteX22" fmla="*/ 504895 w 608485"/>
              <a:gd name="connsiteY22" fmla="*/ 227891 h 506307"/>
              <a:gd name="connsiteX23" fmla="*/ 507030 w 608485"/>
              <a:gd name="connsiteY23" fmla="*/ 227891 h 506307"/>
              <a:gd name="connsiteX24" fmla="*/ 0 w 608485"/>
              <a:gd name="connsiteY24" fmla="*/ 202593 h 506307"/>
              <a:gd name="connsiteX25" fmla="*/ 292776 w 608485"/>
              <a:gd name="connsiteY25" fmla="*/ 202593 h 506307"/>
              <a:gd name="connsiteX26" fmla="*/ 274948 w 608485"/>
              <a:gd name="connsiteY26" fmla="*/ 260880 h 506307"/>
              <a:gd name="connsiteX27" fmla="*/ 257955 w 608485"/>
              <a:gd name="connsiteY27" fmla="*/ 250409 h 506307"/>
              <a:gd name="connsiteX28" fmla="*/ 232605 w 608485"/>
              <a:gd name="connsiteY28" fmla="*/ 261992 h 506307"/>
              <a:gd name="connsiteX29" fmla="*/ 214220 w 608485"/>
              <a:gd name="connsiteY29" fmla="*/ 303784 h 506307"/>
              <a:gd name="connsiteX30" fmla="*/ 0 w 608485"/>
              <a:gd name="connsiteY30" fmla="*/ 303784 h 506307"/>
              <a:gd name="connsiteX31" fmla="*/ 378645 w 608485"/>
              <a:gd name="connsiteY31" fmla="*/ 168157 h 506307"/>
              <a:gd name="connsiteX32" fmla="*/ 412161 w 608485"/>
              <a:gd name="connsiteY32" fmla="*/ 293321 h 506307"/>
              <a:gd name="connsiteX33" fmla="*/ 433051 w 608485"/>
              <a:gd name="connsiteY33" fmla="*/ 318261 h 506307"/>
              <a:gd name="connsiteX34" fmla="*/ 461275 w 608485"/>
              <a:gd name="connsiteY34" fmla="*/ 302129 h 506307"/>
              <a:gd name="connsiteX35" fmla="*/ 471673 w 608485"/>
              <a:gd name="connsiteY35" fmla="*/ 266805 h 506307"/>
              <a:gd name="connsiteX36" fmla="*/ 474180 w 608485"/>
              <a:gd name="connsiteY36" fmla="*/ 269586 h 506307"/>
              <a:gd name="connsiteX37" fmla="*/ 475665 w 608485"/>
              <a:gd name="connsiteY37" fmla="*/ 439531 h 506307"/>
              <a:gd name="connsiteX38" fmla="*/ 381430 w 608485"/>
              <a:gd name="connsiteY38" fmla="*/ 480974 h 506307"/>
              <a:gd name="connsiteX39" fmla="*/ 287659 w 608485"/>
              <a:gd name="connsiteY39" fmla="*/ 438326 h 506307"/>
              <a:gd name="connsiteX40" fmla="*/ 257485 w 608485"/>
              <a:gd name="connsiteY40" fmla="*/ 340327 h 506307"/>
              <a:gd name="connsiteX41" fmla="*/ 286266 w 608485"/>
              <a:gd name="connsiteY41" fmla="*/ 372406 h 506307"/>
              <a:gd name="connsiteX42" fmla="*/ 309848 w 608485"/>
              <a:gd name="connsiteY42" fmla="*/ 379267 h 506307"/>
              <a:gd name="connsiteX43" fmla="*/ 328974 w 608485"/>
              <a:gd name="connsiteY43" fmla="*/ 348949 h 506307"/>
              <a:gd name="connsiteX44" fmla="*/ 365461 w 608485"/>
              <a:gd name="connsiteY44" fmla="*/ 184011 h 506307"/>
              <a:gd name="connsiteX45" fmla="*/ 507012 w 608485"/>
              <a:gd name="connsiteY45" fmla="*/ 0 h 506307"/>
              <a:gd name="connsiteX46" fmla="*/ 583140 w 608485"/>
              <a:gd name="connsiteY46" fmla="*/ 0 h 506307"/>
              <a:gd name="connsiteX47" fmla="*/ 608485 w 608485"/>
              <a:gd name="connsiteY47" fmla="*/ 25306 h 506307"/>
              <a:gd name="connsiteX48" fmla="*/ 608485 w 608485"/>
              <a:gd name="connsiteY48" fmla="*/ 151927 h 506307"/>
              <a:gd name="connsiteX49" fmla="*/ 507012 w 608485"/>
              <a:gd name="connsiteY49" fmla="*/ 151927 h 506307"/>
              <a:gd name="connsiteX50" fmla="*/ 202875 w 608485"/>
              <a:gd name="connsiteY50" fmla="*/ 0 h 506307"/>
              <a:gd name="connsiteX51" fmla="*/ 456346 w 608485"/>
              <a:gd name="connsiteY51" fmla="*/ 0 h 506307"/>
              <a:gd name="connsiteX52" fmla="*/ 456346 w 608485"/>
              <a:gd name="connsiteY52" fmla="*/ 185447 h 506307"/>
              <a:gd name="connsiteX53" fmla="*/ 448454 w 608485"/>
              <a:gd name="connsiteY53" fmla="*/ 186467 h 506307"/>
              <a:gd name="connsiteX54" fmla="*/ 443440 w 608485"/>
              <a:gd name="connsiteY54" fmla="*/ 188692 h 506307"/>
              <a:gd name="connsiteX55" fmla="*/ 408159 w 608485"/>
              <a:gd name="connsiteY55" fmla="*/ 118222 h 506307"/>
              <a:gd name="connsiteX56" fmla="*/ 402681 w 608485"/>
              <a:gd name="connsiteY56" fmla="*/ 112103 h 506307"/>
              <a:gd name="connsiteX57" fmla="*/ 396181 w 608485"/>
              <a:gd name="connsiteY57" fmla="*/ 106910 h 506307"/>
              <a:gd name="connsiteX58" fmla="*/ 360807 w 608485"/>
              <a:gd name="connsiteY58" fmla="*/ 110434 h 506307"/>
              <a:gd name="connsiteX59" fmla="*/ 326918 w 608485"/>
              <a:gd name="connsiteY59" fmla="*/ 151139 h 506307"/>
              <a:gd name="connsiteX60" fmla="*/ 304263 w 608485"/>
              <a:gd name="connsiteY60" fmla="*/ 182294 h 506307"/>
              <a:gd name="connsiteX61" fmla="*/ 304263 w 608485"/>
              <a:gd name="connsiteY61" fmla="*/ 151974 h 506307"/>
              <a:gd name="connsiteX62" fmla="*/ 202875 w 608485"/>
              <a:gd name="connsiteY62" fmla="*/ 151974 h 506307"/>
              <a:gd name="connsiteX63" fmla="*/ 25345 w 608485"/>
              <a:gd name="connsiteY63" fmla="*/ 0 h 506307"/>
              <a:gd name="connsiteX64" fmla="*/ 152068 w 608485"/>
              <a:gd name="connsiteY64" fmla="*/ 0 h 506307"/>
              <a:gd name="connsiteX65" fmla="*/ 152068 w 608485"/>
              <a:gd name="connsiteY65" fmla="*/ 151927 h 506307"/>
              <a:gd name="connsiteX66" fmla="*/ 0 w 608485"/>
              <a:gd name="connsiteY66" fmla="*/ 151927 h 506307"/>
              <a:gd name="connsiteX67" fmla="*/ 0 w 608485"/>
              <a:gd name="connsiteY67" fmla="*/ 25306 h 506307"/>
              <a:gd name="connsiteX68" fmla="*/ 25345 w 608485"/>
              <a:gd name="connsiteY68" fmla="*/ 0 h 50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8485" h="506307">
                <a:moveTo>
                  <a:pt x="557809" y="354380"/>
                </a:moveTo>
                <a:lnTo>
                  <a:pt x="608485" y="354380"/>
                </a:lnTo>
                <a:lnTo>
                  <a:pt x="608485" y="480909"/>
                </a:lnTo>
                <a:cubicBezTo>
                  <a:pt x="608485" y="494906"/>
                  <a:pt x="597069" y="506307"/>
                  <a:pt x="583147" y="506307"/>
                </a:cubicBezTo>
                <a:lnTo>
                  <a:pt x="473070" y="506307"/>
                </a:lnTo>
                <a:cubicBezTo>
                  <a:pt x="487920" y="497408"/>
                  <a:pt x="501564" y="486378"/>
                  <a:pt x="513351" y="473308"/>
                </a:cubicBezTo>
                <a:cubicBezTo>
                  <a:pt x="543515" y="439752"/>
                  <a:pt x="558273" y="397205"/>
                  <a:pt x="557809" y="354380"/>
                </a:cubicBezTo>
                <a:close/>
                <a:moveTo>
                  <a:pt x="202875" y="354380"/>
                </a:moveTo>
                <a:lnTo>
                  <a:pt x="206495" y="354380"/>
                </a:lnTo>
                <a:cubicBezTo>
                  <a:pt x="206310" y="396556"/>
                  <a:pt x="220605" y="438640"/>
                  <a:pt x="249566" y="471639"/>
                </a:cubicBezTo>
                <a:cubicBezTo>
                  <a:pt x="261634" y="485358"/>
                  <a:pt x="275743" y="497038"/>
                  <a:pt x="291152" y="506307"/>
                </a:cubicBezTo>
                <a:lnTo>
                  <a:pt x="202875" y="506307"/>
                </a:lnTo>
                <a:close/>
                <a:moveTo>
                  <a:pt x="0" y="354380"/>
                </a:moveTo>
                <a:lnTo>
                  <a:pt x="152068" y="354380"/>
                </a:lnTo>
                <a:lnTo>
                  <a:pt x="152068" y="506307"/>
                </a:lnTo>
                <a:lnTo>
                  <a:pt x="25345" y="506307"/>
                </a:lnTo>
                <a:cubicBezTo>
                  <a:pt x="11326" y="506307"/>
                  <a:pt x="0" y="494906"/>
                  <a:pt x="0" y="480909"/>
                </a:cubicBezTo>
                <a:close/>
                <a:moveTo>
                  <a:pt x="507030" y="202593"/>
                </a:moveTo>
                <a:lnTo>
                  <a:pt x="608485" y="202593"/>
                </a:lnTo>
                <a:lnTo>
                  <a:pt x="608485" y="303784"/>
                </a:lnTo>
                <a:lnTo>
                  <a:pt x="549357" y="303784"/>
                </a:lnTo>
                <a:cubicBezTo>
                  <a:pt x="541931" y="279598"/>
                  <a:pt x="529957" y="256432"/>
                  <a:pt x="512228" y="236138"/>
                </a:cubicBezTo>
                <a:lnTo>
                  <a:pt x="504895" y="227891"/>
                </a:lnTo>
                <a:lnTo>
                  <a:pt x="507030" y="227891"/>
                </a:lnTo>
                <a:close/>
                <a:moveTo>
                  <a:pt x="0" y="202593"/>
                </a:moveTo>
                <a:lnTo>
                  <a:pt x="292776" y="202593"/>
                </a:lnTo>
                <a:cubicBezTo>
                  <a:pt x="284047" y="220941"/>
                  <a:pt x="278012" y="240401"/>
                  <a:pt x="274948" y="260880"/>
                </a:cubicBezTo>
                <a:cubicBezTo>
                  <a:pt x="271048" y="255412"/>
                  <a:pt x="264919" y="251521"/>
                  <a:pt x="257955" y="250409"/>
                </a:cubicBezTo>
                <a:cubicBezTo>
                  <a:pt x="247926" y="248926"/>
                  <a:pt x="237991" y="253466"/>
                  <a:pt x="232605" y="261992"/>
                </a:cubicBezTo>
                <a:cubicBezTo>
                  <a:pt x="224341" y="275150"/>
                  <a:pt x="218584" y="289328"/>
                  <a:pt x="214220" y="303784"/>
                </a:cubicBezTo>
                <a:lnTo>
                  <a:pt x="0" y="303784"/>
                </a:lnTo>
                <a:close/>
                <a:moveTo>
                  <a:pt x="378645" y="168157"/>
                </a:moveTo>
                <a:cubicBezTo>
                  <a:pt x="400927" y="209786"/>
                  <a:pt x="412161" y="251785"/>
                  <a:pt x="412161" y="293321"/>
                </a:cubicBezTo>
                <a:cubicBezTo>
                  <a:pt x="412161" y="305559"/>
                  <a:pt x="420981" y="316036"/>
                  <a:pt x="433051" y="318261"/>
                </a:cubicBezTo>
                <a:cubicBezTo>
                  <a:pt x="445213" y="320486"/>
                  <a:pt x="457004" y="313625"/>
                  <a:pt x="461275" y="302129"/>
                </a:cubicBezTo>
                <a:cubicBezTo>
                  <a:pt x="461646" y="301202"/>
                  <a:pt x="466567" y="287758"/>
                  <a:pt x="471673" y="266805"/>
                </a:cubicBezTo>
                <a:lnTo>
                  <a:pt x="474180" y="269586"/>
                </a:lnTo>
                <a:cubicBezTo>
                  <a:pt x="517723" y="319095"/>
                  <a:pt x="518373" y="392154"/>
                  <a:pt x="475665" y="439531"/>
                </a:cubicBezTo>
                <a:cubicBezTo>
                  <a:pt x="451712" y="466140"/>
                  <a:pt x="417174" y="480140"/>
                  <a:pt x="381430" y="480974"/>
                </a:cubicBezTo>
                <a:cubicBezTo>
                  <a:pt x="345500" y="480789"/>
                  <a:pt x="311334" y="465213"/>
                  <a:pt x="287659" y="438326"/>
                </a:cubicBezTo>
                <a:cubicBezTo>
                  <a:pt x="263706" y="410975"/>
                  <a:pt x="253400" y="375002"/>
                  <a:pt x="257485" y="340327"/>
                </a:cubicBezTo>
                <a:cubicBezTo>
                  <a:pt x="269555" y="357201"/>
                  <a:pt x="281531" y="368234"/>
                  <a:pt x="286266" y="372406"/>
                </a:cubicBezTo>
                <a:cubicBezTo>
                  <a:pt x="292208" y="378340"/>
                  <a:pt x="300935" y="381306"/>
                  <a:pt x="309848" y="379267"/>
                </a:cubicBezTo>
                <a:cubicBezTo>
                  <a:pt x="323496" y="376207"/>
                  <a:pt x="332038" y="362578"/>
                  <a:pt x="328974" y="348949"/>
                </a:cubicBezTo>
                <a:cubicBezTo>
                  <a:pt x="314212" y="282659"/>
                  <a:pt x="326003" y="228885"/>
                  <a:pt x="365461" y="184011"/>
                </a:cubicBezTo>
                <a:close/>
                <a:moveTo>
                  <a:pt x="507012" y="0"/>
                </a:moveTo>
                <a:lnTo>
                  <a:pt x="583140" y="0"/>
                </a:lnTo>
                <a:cubicBezTo>
                  <a:pt x="597159" y="0"/>
                  <a:pt x="608485" y="11401"/>
                  <a:pt x="608485" y="25306"/>
                </a:cubicBezTo>
                <a:lnTo>
                  <a:pt x="608485" y="151927"/>
                </a:lnTo>
                <a:lnTo>
                  <a:pt x="507012" y="151927"/>
                </a:lnTo>
                <a:close/>
                <a:moveTo>
                  <a:pt x="202875" y="0"/>
                </a:moveTo>
                <a:lnTo>
                  <a:pt x="456346" y="0"/>
                </a:lnTo>
                <a:lnTo>
                  <a:pt x="456346" y="185447"/>
                </a:lnTo>
                <a:cubicBezTo>
                  <a:pt x="453746" y="185354"/>
                  <a:pt x="451054" y="185632"/>
                  <a:pt x="448454" y="186467"/>
                </a:cubicBezTo>
                <a:cubicBezTo>
                  <a:pt x="446690" y="187023"/>
                  <a:pt x="445019" y="187765"/>
                  <a:pt x="443440" y="188692"/>
                </a:cubicBezTo>
                <a:cubicBezTo>
                  <a:pt x="434620" y="164955"/>
                  <a:pt x="422828" y="141496"/>
                  <a:pt x="408159" y="118222"/>
                </a:cubicBezTo>
                <a:cubicBezTo>
                  <a:pt x="406673" y="115904"/>
                  <a:pt x="404816" y="113864"/>
                  <a:pt x="402681" y="112103"/>
                </a:cubicBezTo>
                <a:lnTo>
                  <a:pt x="396181" y="106910"/>
                </a:lnTo>
                <a:cubicBezTo>
                  <a:pt x="385411" y="98194"/>
                  <a:pt x="369720" y="99770"/>
                  <a:pt x="360807" y="110434"/>
                </a:cubicBezTo>
                <a:lnTo>
                  <a:pt x="326918" y="151139"/>
                </a:lnTo>
                <a:cubicBezTo>
                  <a:pt x="318190" y="161060"/>
                  <a:pt x="310855" y="171538"/>
                  <a:pt x="304263" y="182294"/>
                </a:cubicBezTo>
                <a:lnTo>
                  <a:pt x="304263" y="151974"/>
                </a:lnTo>
                <a:lnTo>
                  <a:pt x="202875" y="151974"/>
                </a:lnTo>
                <a:close/>
                <a:moveTo>
                  <a:pt x="25345" y="0"/>
                </a:moveTo>
                <a:lnTo>
                  <a:pt x="152068" y="0"/>
                </a:lnTo>
                <a:lnTo>
                  <a:pt x="152068" y="151927"/>
                </a:lnTo>
                <a:lnTo>
                  <a:pt x="0" y="151927"/>
                </a:lnTo>
                <a:lnTo>
                  <a:pt x="0" y="25306"/>
                </a:lnTo>
                <a:cubicBezTo>
                  <a:pt x="0" y="11401"/>
                  <a:pt x="11326" y="0"/>
                  <a:pt x="2534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cxnSp>
        <p:nvCxnSpPr>
          <p:cNvPr id="72" name="直接连接符 23">
            <a:extLst>
              <a:ext uri="{FF2B5EF4-FFF2-40B4-BE49-F238E27FC236}">
                <a16:creationId xmlns="" xmlns:a16="http://schemas.microsoft.com/office/drawing/2014/main" id="{7D61F4BF-3A1C-4A0B-A16D-93B4DDD57F96}"/>
              </a:ext>
            </a:extLst>
          </p:cNvPr>
          <p:cNvCxnSpPr>
            <a:cxnSpLocks/>
          </p:cNvCxnSpPr>
          <p:nvPr/>
        </p:nvCxnSpPr>
        <p:spPr>
          <a:xfrm>
            <a:off x="7391400" y="3910063"/>
            <a:ext cx="51588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3" name="直接连接符 25">
            <a:extLst>
              <a:ext uri="{FF2B5EF4-FFF2-40B4-BE49-F238E27FC236}">
                <a16:creationId xmlns="" xmlns:a16="http://schemas.microsoft.com/office/drawing/2014/main" id="{A6A66C46-A44E-4D78-95D0-96EA032AE9AE}"/>
              </a:ext>
            </a:extLst>
          </p:cNvPr>
          <p:cNvCxnSpPr>
            <a:cxnSpLocks/>
          </p:cNvCxnSpPr>
          <p:nvPr/>
        </p:nvCxnSpPr>
        <p:spPr>
          <a:xfrm flipV="1">
            <a:off x="8333853" y="3040202"/>
            <a:ext cx="0" cy="46688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4" name="直接连接符 26">
            <a:extLst>
              <a:ext uri="{FF2B5EF4-FFF2-40B4-BE49-F238E27FC236}">
                <a16:creationId xmlns="" xmlns:a16="http://schemas.microsoft.com/office/drawing/2014/main" id="{641A6A10-7959-42EB-B98D-1C835B83587E}"/>
              </a:ext>
            </a:extLst>
          </p:cNvPr>
          <p:cNvCxnSpPr>
            <a:cxnSpLocks/>
          </p:cNvCxnSpPr>
          <p:nvPr/>
        </p:nvCxnSpPr>
        <p:spPr>
          <a:xfrm flipV="1">
            <a:off x="8334114" y="4333728"/>
            <a:ext cx="0" cy="466889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5" name="文本框 28">
            <a:extLst>
              <a:ext uri="{FF2B5EF4-FFF2-40B4-BE49-F238E27FC236}">
                <a16:creationId xmlns="" xmlns:a16="http://schemas.microsoft.com/office/drawing/2014/main" id="{7443D8DA-B205-4BAC-A93F-3954BA5DDB49}"/>
              </a:ext>
            </a:extLst>
          </p:cNvPr>
          <p:cNvSpPr txBox="1"/>
          <p:nvPr/>
        </p:nvSpPr>
        <p:spPr>
          <a:xfrm>
            <a:off x="8890265" y="3805222"/>
            <a:ext cx="237352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3rd Party Security Devices</a:t>
            </a:r>
            <a:endParaRPr lang="zh-CN" alt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76" name="文本框 29">
            <a:extLst>
              <a:ext uri="{FF2B5EF4-FFF2-40B4-BE49-F238E27FC236}">
                <a16:creationId xmlns="" xmlns:a16="http://schemas.microsoft.com/office/drawing/2014/main" id="{E2061692-E9FA-48AA-95D5-81E7E125B20B}"/>
              </a:ext>
            </a:extLst>
          </p:cNvPr>
          <p:cNvSpPr txBox="1"/>
          <p:nvPr/>
        </p:nvSpPr>
        <p:spPr>
          <a:xfrm>
            <a:off x="6336291" y="4369117"/>
            <a:ext cx="999458" cy="3034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Source</a:t>
            </a:r>
            <a:endParaRPr lang="zh-CN" altLang="en-US" sz="14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="" xmlns:a16="http://schemas.microsoft.com/office/drawing/2014/main" id="{7956B1BC-06B9-4E84-A2BB-5872C972A575}"/>
              </a:ext>
            </a:extLst>
          </p:cNvPr>
          <p:cNvSpPr/>
          <p:nvPr/>
        </p:nvSpPr>
        <p:spPr>
          <a:xfrm>
            <a:off x="7920796" y="3507091"/>
            <a:ext cx="826637" cy="826637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="" xmlns:a16="http://schemas.microsoft.com/office/drawing/2014/main" id="{36669EB1-E834-41A0-AA33-CA399475FEF4}"/>
              </a:ext>
            </a:extLst>
          </p:cNvPr>
          <p:cNvSpPr/>
          <p:nvPr/>
        </p:nvSpPr>
        <p:spPr>
          <a:xfrm>
            <a:off x="7920796" y="2219344"/>
            <a:ext cx="826637" cy="82663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78" name="Oval 77">
            <a:extLst>
              <a:ext uri="{FF2B5EF4-FFF2-40B4-BE49-F238E27FC236}">
                <a16:creationId xmlns="" xmlns:a16="http://schemas.microsoft.com/office/drawing/2014/main" id="{C64711B9-E423-4577-AFE9-448804A681B9}"/>
              </a:ext>
            </a:extLst>
          </p:cNvPr>
          <p:cNvSpPr/>
          <p:nvPr/>
        </p:nvSpPr>
        <p:spPr>
          <a:xfrm>
            <a:off x="7920796" y="4800617"/>
            <a:ext cx="826637" cy="8266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E1F926B8-A516-484C-AE38-D5CA643A9A24}"/>
              </a:ext>
            </a:extLst>
          </p:cNvPr>
          <p:cNvSpPr/>
          <p:nvPr/>
        </p:nvSpPr>
        <p:spPr>
          <a:xfrm>
            <a:off x="3997527" y="3199019"/>
            <a:ext cx="192615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90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Define your own log parsing configuration, include one or multiple log parsing templates and applicable models</a:t>
            </a:r>
          </a:p>
          <a:p>
            <a:pPr lvl="0" algn="r"/>
            <a:endParaRPr lang="en-US" altLang="zh-CN" sz="900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405481514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="" xmlns:a16="http://schemas.microsoft.com/office/drawing/2014/main" id="{5A8E16C8-5400-3F4D-A836-89E8BD015D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x-none" dirty="0"/>
              <a:t>Product Models</a:t>
            </a:r>
            <a:r>
              <a:rPr lang="en-US" dirty="0"/>
              <a:t> </a:t>
            </a:r>
            <a:r>
              <a:rPr lang="x-none" dirty="0"/>
              <a:t>&amp; Ordering Info</a:t>
            </a:r>
          </a:p>
        </p:txBody>
      </p:sp>
      <p:sp>
        <p:nvSpPr>
          <p:cNvPr id="2" name="副标题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715296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圆角矩形 28">
            <a:extLst>
              <a:ext uri="{FF2B5EF4-FFF2-40B4-BE49-F238E27FC236}">
                <a16:creationId xmlns="" xmlns:a16="http://schemas.microsoft.com/office/drawing/2014/main" id="{91CF09C3-4E29-4277-B280-AFB67B953B1B}"/>
              </a:ext>
            </a:extLst>
          </p:cNvPr>
          <p:cNvSpPr/>
          <p:nvPr/>
        </p:nvSpPr>
        <p:spPr>
          <a:xfrm>
            <a:off x="2867314" y="4098265"/>
            <a:ext cx="1817241" cy="814605"/>
          </a:xfrm>
          <a:prstGeom prst="roundRect">
            <a:avLst>
              <a:gd name="adj" fmla="val 731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Text Box 30">
            <a:extLst>
              <a:ext uri="{FF2B5EF4-FFF2-40B4-BE49-F238E27FC236}">
                <a16:creationId xmlns="" xmlns:a16="http://schemas.microsoft.com/office/drawing/2014/main" id="{186D0893-CD69-4554-B3D3-C2BD8DBD53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85322" y="4325517"/>
            <a:ext cx="1781226" cy="3600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14388" eaLnBrk="0" hangingPunct="0">
              <a:lnSpc>
                <a:spcPct val="90000"/>
              </a:lnSpc>
            </a:pPr>
            <a:r>
              <a:rPr lang="en-US" altLang="zh-CN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C6205</a:t>
            </a:r>
          </a:p>
          <a:p>
            <a:pPr algn="ctr" defTabSz="814388" eaLnBrk="0" hangingPunct="0">
              <a:lnSpc>
                <a:spcPct val="90000"/>
              </a:lnSpc>
            </a:pPr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5K EPS, 3 Gbp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="" xmlns:a16="http://schemas.microsoft.com/office/drawing/2014/main" id="{A1C24208-E3E4-485E-B7C5-BD881091ECC5}"/>
              </a:ext>
            </a:extLst>
          </p:cNvPr>
          <p:cNvCxnSpPr/>
          <p:nvPr/>
        </p:nvCxnSpPr>
        <p:spPr>
          <a:xfrm>
            <a:off x="1300983" y="1791397"/>
            <a:ext cx="9460523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4BBAF398-90B0-47DD-BF63-E149EFDCA2D0}"/>
              </a:ext>
            </a:extLst>
          </p:cNvPr>
          <p:cNvCxnSpPr/>
          <p:nvPr/>
        </p:nvCxnSpPr>
        <p:spPr>
          <a:xfrm>
            <a:off x="1300983" y="2647740"/>
            <a:ext cx="9460523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89E92EB8-C2C9-4367-A66F-ECCC49CB8F10}"/>
              </a:ext>
            </a:extLst>
          </p:cNvPr>
          <p:cNvCxnSpPr/>
          <p:nvPr/>
        </p:nvCxnSpPr>
        <p:spPr>
          <a:xfrm>
            <a:off x="1300983" y="3518597"/>
            <a:ext cx="9460523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CF844915-8218-4A51-8F7C-59486D81B6F1}"/>
              </a:ext>
            </a:extLst>
          </p:cNvPr>
          <p:cNvCxnSpPr/>
          <p:nvPr/>
        </p:nvCxnSpPr>
        <p:spPr>
          <a:xfrm>
            <a:off x="1300983" y="4505568"/>
            <a:ext cx="9460523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8DFD4B-35D3-4179-BD1A-4AD8F5A20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llstone </a:t>
            </a:r>
            <a:r>
              <a:rPr lang="en-US" dirty="0" err="1"/>
              <a:t>iSource</a:t>
            </a:r>
            <a:r>
              <a:rPr lang="en-US" dirty="0"/>
              <a:t> Product Portfolio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="" xmlns:a16="http://schemas.microsoft.com/office/drawing/2014/main" id="{2D72553C-CBE6-4A3D-9B1B-10545CF85998}"/>
              </a:ext>
            </a:extLst>
          </p:cNvPr>
          <p:cNvSpPr/>
          <p:nvPr/>
        </p:nvSpPr>
        <p:spPr>
          <a:xfrm>
            <a:off x="1211077" y="5529148"/>
            <a:ext cx="9556405" cy="239429"/>
          </a:xfrm>
          <a:prstGeom prst="rightArrow">
            <a:avLst>
              <a:gd name="adj1" fmla="val 53857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="" xmlns:a16="http://schemas.microsoft.com/office/drawing/2014/main" id="{0A3CC36E-76DE-4469-A5C4-AB7C43B837B2}"/>
              </a:ext>
            </a:extLst>
          </p:cNvPr>
          <p:cNvSpPr/>
          <p:nvPr/>
        </p:nvSpPr>
        <p:spPr>
          <a:xfrm rot="16200000">
            <a:off x="-892502" y="3419775"/>
            <a:ext cx="4335780" cy="239429"/>
          </a:xfrm>
          <a:prstGeom prst="rightArrow">
            <a:avLst>
              <a:gd name="adj1" fmla="val 53857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 Box 6">
            <a:extLst>
              <a:ext uri="{FF2B5EF4-FFF2-40B4-BE49-F238E27FC236}">
                <a16:creationId xmlns="" xmlns:a16="http://schemas.microsoft.com/office/drawing/2014/main" id="{AFBE70CD-6212-415D-8CE4-2142BA82AE29}"/>
              </a:ext>
            </a:extLst>
          </p:cNvPr>
          <p:cNvSpPr txBox="1">
            <a:spLocks noChangeArrowheads="1"/>
          </p:cNvSpPr>
          <p:nvPr/>
        </p:nvSpPr>
        <p:spPr bwMode="auto">
          <a:xfrm rot="5400000" flipV="1">
            <a:off x="2678068" y="4387488"/>
            <a:ext cx="422416" cy="3350211"/>
          </a:xfrm>
          <a:prstGeom prst="rect">
            <a:avLst/>
          </a:prstGeom>
          <a:solidFill>
            <a:schemeClr val="accent4"/>
          </a:solidFill>
          <a:ln w="12700">
            <a:noFill/>
            <a:miter lim="800000"/>
            <a:headEnd/>
            <a:tailEnd/>
          </a:ln>
        </p:spPr>
        <p:txBody>
          <a:bodyPr vert="eaVert" wrap="square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x-none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urce 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x-none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x-none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ed as a software package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E3875F80-4C3E-43EF-90D2-F76FA3883E9B}"/>
              </a:ext>
            </a:extLst>
          </p:cNvPr>
          <p:cNvSpPr txBox="1"/>
          <p:nvPr/>
        </p:nvSpPr>
        <p:spPr>
          <a:xfrm>
            <a:off x="8731305" y="5057229"/>
            <a:ext cx="1963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x-none" dirty="0">
                <a:latin typeface="Arial" panose="020B0604020202020204" pitchFamily="34" charset="0"/>
                <a:cs typeface="Arial" panose="020B0604020202020204" pitchFamily="34" charset="0"/>
              </a:rPr>
              <a:t>Throughput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214BC316-539A-41D1-B5B9-9F77DD80DE5E}"/>
              </a:ext>
            </a:extLst>
          </p:cNvPr>
          <p:cNvSpPr txBox="1"/>
          <p:nvPr/>
        </p:nvSpPr>
        <p:spPr>
          <a:xfrm>
            <a:off x="1395103" y="1329472"/>
            <a:ext cx="1963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dirty="0">
                <a:latin typeface="Arial" panose="020B0604020202020204" pitchFamily="34" charset="0"/>
                <a:cs typeface="Arial" panose="020B0604020202020204" pitchFamily="34" charset="0"/>
              </a:rPr>
              <a:t>Event Processing</a:t>
            </a:r>
          </a:p>
        </p:txBody>
      </p:sp>
      <p:pic>
        <p:nvPicPr>
          <p:cNvPr id="64" name="图片 7">
            <a:extLst>
              <a:ext uri="{FF2B5EF4-FFF2-40B4-BE49-F238E27FC236}">
                <a16:creationId xmlns="" xmlns:a16="http://schemas.microsoft.com/office/drawing/2014/main" id="{F4A41C58-9B2E-436B-8BFA-C8C2BC853D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210" y="4230864"/>
            <a:ext cx="733149" cy="578175"/>
          </a:xfrm>
          <a:prstGeom prst="rect">
            <a:avLst/>
          </a:prstGeom>
        </p:spPr>
      </p:pic>
      <p:sp>
        <p:nvSpPr>
          <p:cNvPr id="66" name="圆角矩形 28">
            <a:extLst>
              <a:ext uri="{FF2B5EF4-FFF2-40B4-BE49-F238E27FC236}">
                <a16:creationId xmlns="" xmlns:a16="http://schemas.microsoft.com/office/drawing/2014/main" id="{88520537-A09E-463B-8E41-F2A81C3B927C}"/>
              </a:ext>
            </a:extLst>
          </p:cNvPr>
          <p:cNvSpPr/>
          <p:nvPr/>
        </p:nvSpPr>
        <p:spPr>
          <a:xfrm>
            <a:off x="4977267" y="3068648"/>
            <a:ext cx="1817241" cy="814605"/>
          </a:xfrm>
          <a:prstGeom prst="roundRect">
            <a:avLst>
              <a:gd name="adj" fmla="val 731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7" name="Text Box 30">
            <a:extLst>
              <a:ext uri="{FF2B5EF4-FFF2-40B4-BE49-F238E27FC236}">
                <a16:creationId xmlns="" xmlns:a16="http://schemas.microsoft.com/office/drawing/2014/main" id="{B92A52B2-FBDD-4C1A-BE7C-FB38D9ECA9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95275" y="3275895"/>
            <a:ext cx="1781226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C6210</a:t>
            </a:r>
          </a:p>
          <a:p>
            <a:pPr algn="ctr"/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8K EPS, 6 Gbps</a:t>
            </a:r>
          </a:p>
        </p:txBody>
      </p:sp>
      <p:pic>
        <p:nvPicPr>
          <p:cNvPr id="68" name="图片 7">
            <a:extLst>
              <a:ext uri="{FF2B5EF4-FFF2-40B4-BE49-F238E27FC236}">
                <a16:creationId xmlns="" xmlns:a16="http://schemas.microsoft.com/office/drawing/2014/main" id="{2B9182C7-3CA5-4A25-8417-C0C9DFCE6D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163" y="3201247"/>
            <a:ext cx="733149" cy="578175"/>
          </a:xfrm>
          <a:prstGeom prst="rect">
            <a:avLst/>
          </a:prstGeom>
        </p:spPr>
      </p:pic>
      <p:sp>
        <p:nvSpPr>
          <p:cNvPr id="69" name="圆角矩形 28">
            <a:extLst>
              <a:ext uri="{FF2B5EF4-FFF2-40B4-BE49-F238E27FC236}">
                <a16:creationId xmlns="" xmlns:a16="http://schemas.microsoft.com/office/drawing/2014/main" id="{20193396-A5E5-49A2-9138-BBBE5DFA43F9}"/>
              </a:ext>
            </a:extLst>
          </p:cNvPr>
          <p:cNvSpPr/>
          <p:nvPr/>
        </p:nvSpPr>
        <p:spPr>
          <a:xfrm>
            <a:off x="8247654" y="2211101"/>
            <a:ext cx="1817241" cy="814605"/>
          </a:xfrm>
          <a:prstGeom prst="roundRect">
            <a:avLst>
              <a:gd name="adj" fmla="val 731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0" name="Text Box 30">
            <a:extLst>
              <a:ext uri="{FF2B5EF4-FFF2-40B4-BE49-F238E27FC236}">
                <a16:creationId xmlns="" xmlns:a16="http://schemas.microsoft.com/office/drawing/2014/main" id="{6687A933-1AF4-412F-80C8-38DA8E21DD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662" y="2418348"/>
            <a:ext cx="1781226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C 6220</a:t>
            </a:r>
          </a:p>
          <a:p>
            <a:pPr algn="ctr"/>
            <a:r>
              <a:rPr lang="x-none" sz="1200" dirty="0">
                <a:latin typeface="Arial" panose="020B0604020202020204" pitchFamily="34" charset="0"/>
                <a:cs typeface="Arial" panose="020B0604020202020204" pitchFamily="34" charset="0"/>
              </a:rPr>
              <a:t>15K EPS, 15 Gbps</a:t>
            </a:r>
          </a:p>
        </p:txBody>
      </p:sp>
      <p:pic>
        <p:nvPicPr>
          <p:cNvPr id="71" name="图片 7">
            <a:extLst>
              <a:ext uri="{FF2B5EF4-FFF2-40B4-BE49-F238E27FC236}">
                <a16:creationId xmlns="" xmlns:a16="http://schemas.microsoft.com/office/drawing/2014/main" id="{E559C48C-9D6B-43B7-82C2-4542FB9EF3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550" y="2343700"/>
            <a:ext cx="733149" cy="578175"/>
          </a:xfrm>
          <a:prstGeom prst="rect">
            <a:avLst/>
          </a:prstGeom>
        </p:spPr>
      </p:pic>
      <p:sp>
        <p:nvSpPr>
          <p:cNvPr id="72" name="Text Box 6">
            <a:extLst>
              <a:ext uri="{FF2B5EF4-FFF2-40B4-BE49-F238E27FC236}">
                <a16:creationId xmlns="" xmlns:a16="http://schemas.microsoft.com/office/drawing/2014/main" id="{B2E9EA72-8C85-43C3-B2D4-17EAB22D4B41}"/>
              </a:ext>
            </a:extLst>
          </p:cNvPr>
          <p:cNvSpPr txBox="1">
            <a:spLocks noChangeArrowheads="1"/>
          </p:cNvSpPr>
          <p:nvPr/>
        </p:nvSpPr>
        <p:spPr bwMode="auto">
          <a:xfrm rot="5400000" flipV="1">
            <a:off x="7807178" y="2721778"/>
            <a:ext cx="422416" cy="6667659"/>
          </a:xfrm>
          <a:prstGeom prst="rect">
            <a:avLst/>
          </a:prstGeom>
          <a:solidFill>
            <a:schemeClr val="accent4"/>
          </a:solidFill>
          <a:ln w="12700">
            <a:noFill/>
            <a:miter lim="800000"/>
            <a:headEnd/>
            <a:tailEnd/>
          </a:ln>
        </p:spPr>
        <p:txBody>
          <a:bodyPr vert="eaVert" wrap="square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x-none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se 3 different models offer different performances and require different hardware configuration </a:t>
            </a:r>
          </a:p>
        </p:txBody>
      </p:sp>
    </p:spTree>
    <p:extLst>
      <p:ext uri="{BB962C8B-B14F-4D97-AF65-F5344CB8AC3E}">
        <p14:creationId xmlns:p14="http://schemas.microsoft.com/office/powerpoint/2010/main" val="14120894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1EEAB37B-E325-4CB6-8827-61103E735ED5}"/>
              </a:ext>
            </a:extLst>
          </p:cNvPr>
          <p:cNvSpPr/>
          <p:nvPr/>
        </p:nvSpPr>
        <p:spPr>
          <a:xfrm>
            <a:off x="0" y="1335542"/>
            <a:ext cx="12192000" cy="32151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7175CE1E-9C78-4B93-9491-5BBA5FC89283}"/>
              </a:ext>
            </a:extLst>
          </p:cNvPr>
          <p:cNvSpPr/>
          <p:nvPr/>
        </p:nvSpPr>
        <p:spPr>
          <a:xfrm>
            <a:off x="593003" y="2110224"/>
            <a:ext cx="11017251" cy="41635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8DFD4B-35D3-4179-BD1A-4AD8F5A20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iSource</a:t>
            </a:r>
            <a:r>
              <a:rPr lang="zh-CN" altLang="en-US" dirty="0"/>
              <a:t> </a:t>
            </a:r>
            <a:r>
              <a:rPr lang="en-US" altLang="zh-CN" dirty="0"/>
              <a:t>Software Package Format</a:t>
            </a:r>
            <a:endParaRPr lang="x-none" dirty="0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7BBB010-F2E4-462C-BAE3-56C65D11B9DA}"/>
              </a:ext>
            </a:extLst>
          </p:cNvPr>
          <p:cNvSpPr/>
          <p:nvPr/>
        </p:nvSpPr>
        <p:spPr>
          <a:xfrm>
            <a:off x="587413" y="1403665"/>
            <a:ext cx="11017175" cy="580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2000" b="1">
                <a:latin typeface="Arial" panose="020B0604020202020204" pitchFamily="34" charset="0"/>
                <a:cs typeface="Arial" panose="020B0604020202020204" pitchFamily="34" charset="0"/>
              </a:rPr>
              <a:t>iSource support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x-none" sz="2000" b="1">
                <a:latin typeface="Arial" panose="020B0604020202020204" pitchFamily="34" charset="0"/>
                <a:cs typeface="Arial" panose="020B0604020202020204" pitchFamily="34" charset="0"/>
              </a:rPr>
              <a:t> installation in the following environment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x-non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4" name="Table 5">
            <a:extLst>
              <a:ext uri="{FF2B5EF4-FFF2-40B4-BE49-F238E27FC236}">
                <a16:creationId xmlns="" xmlns:a16="http://schemas.microsoft.com/office/drawing/2014/main" id="{33C0201E-D4DC-46C1-BA00-371FD16F901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49459" y="2400300"/>
          <a:ext cx="10504341" cy="352424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501447">
                  <a:extLst>
                    <a:ext uri="{9D8B030D-6E8A-4147-A177-3AD203B41FA5}">
                      <a16:colId xmlns="" xmlns:a16="http://schemas.microsoft.com/office/drawing/2014/main" val="4229593779"/>
                    </a:ext>
                  </a:extLst>
                </a:gridCol>
                <a:gridCol w="3501447">
                  <a:extLst>
                    <a:ext uri="{9D8B030D-6E8A-4147-A177-3AD203B41FA5}">
                      <a16:colId xmlns="" xmlns:a16="http://schemas.microsoft.com/office/drawing/2014/main" val="409140610"/>
                    </a:ext>
                  </a:extLst>
                </a:gridCol>
                <a:gridCol w="3501447">
                  <a:extLst>
                    <a:ext uri="{9D8B030D-6E8A-4147-A177-3AD203B41FA5}">
                      <a16:colId xmlns="" xmlns:a16="http://schemas.microsoft.com/office/drawing/2014/main" val="2204844755"/>
                    </a:ext>
                  </a:extLst>
                </a:gridCol>
              </a:tblGrid>
              <a:tr h="550664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x-none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viron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x-none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s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x-none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ftware Image Forma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3575142"/>
                  </a:ext>
                </a:extLst>
              </a:tr>
              <a:tr h="991195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x-non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Mware EXSi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x-none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Si V6.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x-none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MDK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x-none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A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97225500"/>
                  </a:ext>
                </a:extLst>
              </a:tr>
              <a:tr h="991195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x-non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ux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x-none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OS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COW2</a:t>
                      </a:r>
                      <a:endParaRPr lang="x-none" sz="16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53538839"/>
                  </a:ext>
                </a:extLst>
              </a:tr>
              <a:tr h="991195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x-non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ndow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Windows 10</a:t>
                      </a:r>
                      <a:endParaRPr lang="zh-CN" altLang="en-US" sz="1600" dirty="0"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x-none" sz="16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H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769397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175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New IT Trends Brings New Challenges</a:t>
            </a:r>
            <a:endParaRPr lang="en-US" dirty="0"/>
          </a:p>
        </p:txBody>
      </p:sp>
      <p:pic>
        <p:nvPicPr>
          <p:cNvPr id="50" name="Picture 2" descr="Your Company Is About To Undergo Digital Transformation: Who Benefits?">
            <a:extLst>
              <a:ext uri="{FF2B5EF4-FFF2-40B4-BE49-F238E27FC236}">
                <a16:creationId xmlns="" xmlns:a16="http://schemas.microsoft.com/office/drawing/2014/main" id="{EC517DAE-8A3D-444B-8F35-0B6E710E6AA7}"/>
              </a:ext>
            </a:extLst>
          </p:cNvPr>
          <p:cNvPicPr>
            <a:picLocks noGrp="1" noChangeAspect="1" noChangeArrowheads="1"/>
          </p:cNvPicPr>
          <p:nvPr>
            <p:ph type="tbl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672806" y="3157537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The pandemic&amp;#39;s long-term legacy on cloud adoption rates and what comes next  | ITProPortal">
            <a:extLst>
              <a:ext uri="{FF2B5EF4-FFF2-40B4-BE49-F238E27FC236}">
                <a16:creationId xmlns="" xmlns:a16="http://schemas.microsoft.com/office/drawing/2014/main" id="{6719FE82-7EDB-4CF2-B9D2-DADD3370A9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32" t="15069" r="463" b="19209"/>
          <a:stretch/>
        </p:blipFill>
        <p:spPr bwMode="auto">
          <a:xfrm>
            <a:off x="4438617" y="1577162"/>
            <a:ext cx="3230569" cy="1765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8" descr="What Do the Next Five Years Hold For the Internet of Things?">
            <a:extLst>
              <a:ext uri="{FF2B5EF4-FFF2-40B4-BE49-F238E27FC236}">
                <a16:creationId xmlns="" xmlns:a16="http://schemas.microsoft.com/office/drawing/2014/main" id="{1935B831-493C-41BC-ADE6-30FAF668C0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3" t="8801" r="9166" b="2423"/>
          <a:stretch/>
        </p:blipFill>
        <p:spPr bwMode="auto">
          <a:xfrm>
            <a:off x="8119698" y="1569807"/>
            <a:ext cx="3238506" cy="1765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A4046215-9572-4921-9BD8-C740462C5B0D}"/>
              </a:ext>
            </a:extLst>
          </p:cNvPr>
          <p:cNvSpPr/>
          <p:nvPr/>
        </p:nvSpPr>
        <p:spPr>
          <a:xfrm>
            <a:off x="0" y="3337019"/>
            <a:ext cx="12191994" cy="29367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23">
            <a:extLst>
              <a:ext uri="{FF2B5EF4-FFF2-40B4-BE49-F238E27FC236}">
                <a16:creationId xmlns="" xmlns:a16="http://schemas.microsoft.com/office/drawing/2014/main" id="{40F2F4EB-A75E-4519-90B1-606B918E06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943" y="3337020"/>
            <a:ext cx="10503270" cy="46481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144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altLang="zh-CN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23">
            <a:extLst>
              <a:ext uri="{FF2B5EF4-FFF2-40B4-BE49-F238E27FC236}">
                <a16:creationId xmlns="" xmlns:a16="http://schemas.microsoft.com/office/drawing/2014/main" id="{EC077B27-A3DC-43AC-9AA3-311B06D61B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943" y="3337020"/>
            <a:ext cx="3230932" cy="46481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144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x-none" sz="1400" b="1" dirty="0">
                <a:latin typeface="Arial" panose="020B0604020202020204" pitchFamily="34" charset="0"/>
                <a:cs typeface="Arial" panose="020B0604020202020204" pitchFamily="34" charset="0"/>
              </a:rPr>
              <a:t>Digital Transformation</a:t>
            </a:r>
          </a:p>
        </p:txBody>
      </p:sp>
      <p:sp>
        <p:nvSpPr>
          <p:cNvPr id="14" name="TextBox 23">
            <a:extLst>
              <a:ext uri="{FF2B5EF4-FFF2-40B4-BE49-F238E27FC236}">
                <a16:creationId xmlns="" xmlns:a16="http://schemas.microsoft.com/office/drawing/2014/main" id="{DC747F66-B359-4ACE-93CE-B477A4DEDB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38617" y="3337020"/>
            <a:ext cx="3230932" cy="46481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144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x-non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Adoption</a:t>
            </a:r>
          </a:p>
        </p:txBody>
      </p:sp>
      <p:sp>
        <p:nvSpPr>
          <p:cNvPr id="17" name="TextBox 23">
            <a:extLst>
              <a:ext uri="{FF2B5EF4-FFF2-40B4-BE49-F238E27FC236}">
                <a16:creationId xmlns="" xmlns:a16="http://schemas.microsoft.com/office/drawing/2014/main" id="{9105E5D8-8FBB-413C-B1D3-E2636F4E24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699" y="3337020"/>
            <a:ext cx="3230932" cy="46481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144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x-non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Endpoint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="" xmlns:a16="http://schemas.microsoft.com/office/drawing/2014/main" id="{405CB956-3129-43D0-B1D7-428806557F48}"/>
              </a:ext>
            </a:extLst>
          </p:cNvPr>
          <p:cNvCxnSpPr>
            <a:cxnSpLocks/>
          </p:cNvCxnSpPr>
          <p:nvPr/>
        </p:nvCxnSpPr>
        <p:spPr>
          <a:xfrm>
            <a:off x="7893321" y="3417529"/>
            <a:ext cx="0" cy="30379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3">
            <a:extLst>
              <a:ext uri="{FF2B5EF4-FFF2-40B4-BE49-F238E27FC236}">
                <a16:creationId xmlns="" xmlns:a16="http://schemas.microsoft.com/office/drawing/2014/main" id="{D15AE63B-6DB4-45F5-86B0-5BCE216C25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5" y="3934568"/>
            <a:ext cx="324008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nential Increase of Traffic</a:t>
            </a:r>
          </a:p>
        </p:txBody>
      </p:sp>
      <p:sp>
        <p:nvSpPr>
          <p:cNvPr id="27" name="TextBox 23">
            <a:extLst>
              <a:ext uri="{FF2B5EF4-FFF2-40B4-BE49-F238E27FC236}">
                <a16:creationId xmlns="" xmlns:a16="http://schemas.microsoft.com/office/drawing/2014/main" id="{D2AFDACD-10F0-4144-B047-88E1A52F9B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0248" y="3934568"/>
            <a:ext cx="25358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/Hybrid </a:t>
            </a: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</a:t>
            </a:r>
          </a:p>
        </p:txBody>
      </p:sp>
      <p:sp>
        <p:nvSpPr>
          <p:cNvPr id="28" name="TextBox 23">
            <a:extLst>
              <a:ext uri="{FF2B5EF4-FFF2-40B4-BE49-F238E27FC236}">
                <a16:creationId xmlns="" xmlns:a16="http://schemas.microsoft.com/office/drawing/2014/main" id="{8443344A-C8F6-4A3D-A318-EFDE7268FE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4536" y="3934568"/>
            <a:ext cx="25358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 devices</a:t>
            </a:r>
          </a:p>
        </p:txBody>
      </p:sp>
      <p:sp>
        <p:nvSpPr>
          <p:cNvPr id="29" name="TextBox 23">
            <a:extLst>
              <a:ext uri="{FF2B5EF4-FFF2-40B4-BE49-F238E27FC236}">
                <a16:creationId xmlns="" xmlns:a16="http://schemas.microsoft.com/office/drawing/2014/main" id="{9FB9ACA7-E8CB-409F-83B9-F1B6A3812F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5" y="4372215"/>
            <a:ext cx="29988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business </a:t>
            </a: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s/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grades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23">
            <a:extLst>
              <a:ext uri="{FF2B5EF4-FFF2-40B4-BE49-F238E27FC236}">
                <a16:creationId xmlns="" xmlns:a16="http://schemas.microsoft.com/office/drawing/2014/main" id="{78189FF0-4071-4FF6-BBA5-052723E038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0248" y="4372215"/>
            <a:ext cx="25358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aS apps </a:t>
            </a:r>
          </a:p>
        </p:txBody>
      </p:sp>
      <p:sp>
        <p:nvSpPr>
          <p:cNvPr id="32" name="TextBox 23">
            <a:extLst>
              <a:ext uri="{FF2B5EF4-FFF2-40B4-BE49-F238E27FC236}">
                <a16:creationId xmlns="" xmlns:a16="http://schemas.microsoft.com/office/drawing/2014/main" id="{CD81F51A-5C2C-4C60-860F-3A50A8C870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4536" y="4372215"/>
            <a:ext cx="25358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e devices</a:t>
            </a:r>
          </a:p>
        </p:txBody>
      </p:sp>
      <p:sp>
        <p:nvSpPr>
          <p:cNvPr id="33" name="TextBox 23">
            <a:extLst>
              <a:ext uri="{FF2B5EF4-FFF2-40B4-BE49-F238E27FC236}">
                <a16:creationId xmlns="" xmlns:a16="http://schemas.microsoft.com/office/drawing/2014/main" id="{50DC05BA-179D-43EC-BCB8-689D40F8B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6" y="4806242"/>
            <a:ext cx="25358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 from anywhere</a:t>
            </a:r>
          </a:p>
        </p:txBody>
      </p:sp>
      <p:sp>
        <p:nvSpPr>
          <p:cNvPr id="35" name="TextBox 23">
            <a:extLst>
              <a:ext uri="{FF2B5EF4-FFF2-40B4-BE49-F238E27FC236}">
                <a16:creationId xmlns="" xmlns:a16="http://schemas.microsoft.com/office/drawing/2014/main" id="{6936E6E7-D7E9-474E-A91E-19CE6A9276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0248" y="4799184"/>
            <a:ext cx="25358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erless computing</a:t>
            </a:r>
          </a:p>
        </p:txBody>
      </p:sp>
      <p:sp>
        <p:nvSpPr>
          <p:cNvPr id="36" name="TextBox 23">
            <a:extLst>
              <a:ext uri="{FF2B5EF4-FFF2-40B4-BE49-F238E27FC236}">
                <a16:creationId xmlns="" xmlns:a16="http://schemas.microsoft.com/office/drawing/2014/main" id="{921C8755-FAA0-4C58-B243-C637C2AD94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4536" y="4801808"/>
            <a:ext cx="25358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ed vehicles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23">
            <a:extLst>
              <a:ext uri="{FF2B5EF4-FFF2-40B4-BE49-F238E27FC236}">
                <a16:creationId xmlns="" xmlns:a16="http://schemas.microsoft.com/office/drawing/2014/main" id="{C97203A7-13FF-4B18-81DC-E74F453EA7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0248" y="5231490"/>
            <a:ext cx="25358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iner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="" xmlns:a16="http://schemas.microsoft.com/office/drawing/2014/main" id="{E5E2F98D-5FE9-4A3B-BD18-0FD9D571357E}"/>
              </a:ext>
            </a:extLst>
          </p:cNvPr>
          <p:cNvCxnSpPr/>
          <p:nvPr/>
        </p:nvCxnSpPr>
        <p:spPr>
          <a:xfrm>
            <a:off x="824753" y="4258444"/>
            <a:ext cx="105245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="" xmlns:a16="http://schemas.microsoft.com/office/drawing/2014/main" id="{1D5FCF33-E4FC-4F66-9260-7F87A9337524}"/>
              </a:ext>
            </a:extLst>
          </p:cNvPr>
          <p:cNvCxnSpPr/>
          <p:nvPr/>
        </p:nvCxnSpPr>
        <p:spPr>
          <a:xfrm>
            <a:off x="824753" y="4690752"/>
            <a:ext cx="105245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="" xmlns:a16="http://schemas.microsoft.com/office/drawing/2014/main" id="{AEAB80EF-725B-4719-AF17-78CF3F8BFF8F}"/>
              </a:ext>
            </a:extLst>
          </p:cNvPr>
          <p:cNvCxnSpPr/>
          <p:nvPr/>
        </p:nvCxnSpPr>
        <p:spPr>
          <a:xfrm>
            <a:off x="824753" y="5123060"/>
            <a:ext cx="105245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5">
            <a:extLst>
              <a:ext uri="{FF2B5EF4-FFF2-40B4-BE49-F238E27FC236}">
                <a16:creationId xmlns="" xmlns:a16="http://schemas.microsoft.com/office/drawing/2014/main" id="{4A4ADF1D-14BF-4008-B6EA-EAE860A3EDE7}"/>
              </a:ext>
            </a:extLst>
          </p:cNvPr>
          <p:cNvSpPr txBox="1">
            <a:spLocks/>
          </p:cNvSpPr>
          <p:nvPr/>
        </p:nvSpPr>
        <p:spPr>
          <a:xfrm>
            <a:off x="839788" y="5646640"/>
            <a:ext cx="10512425" cy="456054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328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x-none" sz="1600" b="1" dirty="0">
                <a:solidFill>
                  <a:schemeClr val="bg1"/>
                </a:solidFill>
              </a:rPr>
              <a:t>Increased traffic, new services and new devices </a:t>
            </a:r>
            <a:r>
              <a:rPr lang="en-US" sz="1600" b="1" dirty="0">
                <a:solidFill>
                  <a:schemeClr val="bg1"/>
                </a:solidFill>
              </a:rPr>
              <a:t>will introduce</a:t>
            </a:r>
            <a:r>
              <a:rPr lang="x-none" sz="1600" b="1" dirty="0">
                <a:solidFill>
                  <a:schemeClr val="bg1"/>
                </a:solidFill>
              </a:rPr>
              <a:t> new security threats and vulnerabilities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="" xmlns:a16="http://schemas.microsoft.com/office/drawing/2014/main" id="{75465DD0-3113-42A4-A8A2-A599B2221FF2}"/>
              </a:ext>
            </a:extLst>
          </p:cNvPr>
          <p:cNvCxnSpPr>
            <a:cxnSpLocks/>
          </p:cNvCxnSpPr>
          <p:nvPr/>
        </p:nvCxnSpPr>
        <p:spPr>
          <a:xfrm>
            <a:off x="4219448" y="3417529"/>
            <a:ext cx="0" cy="30379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" descr="Your Company Is About To Undergo Digital Transformation: Who Benefits?">
            <a:extLst>
              <a:ext uri="{FF2B5EF4-FFF2-40B4-BE49-F238E27FC236}">
                <a16:creationId xmlns="" xmlns:a16="http://schemas.microsoft.com/office/drawing/2014/main" id="{EC517DAE-8A3D-444B-8F35-0B6E710E6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48" t="1867" r="4577" b="15774"/>
          <a:stretch/>
        </p:blipFill>
        <p:spPr bwMode="auto">
          <a:xfrm>
            <a:off x="848943" y="1577812"/>
            <a:ext cx="3151700" cy="176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294605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1EEAB37B-E325-4CB6-8827-61103E735ED5}"/>
              </a:ext>
            </a:extLst>
          </p:cNvPr>
          <p:cNvSpPr/>
          <p:nvPr/>
        </p:nvSpPr>
        <p:spPr>
          <a:xfrm>
            <a:off x="0" y="1335542"/>
            <a:ext cx="12192000" cy="32151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7175CE1E-9C78-4B93-9491-5BBA5FC89283}"/>
              </a:ext>
            </a:extLst>
          </p:cNvPr>
          <p:cNvSpPr/>
          <p:nvPr/>
        </p:nvSpPr>
        <p:spPr>
          <a:xfrm>
            <a:off x="593003" y="2110224"/>
            <a:ext cx="11017251" cy="41635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8DFD4B-35D3-4179-BD1A-4AD8F5A20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Hillstone iSource Specification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="" xmlns:a16="http://schemas.microsoft.com/office/drawing/2014/main" id="{A3B1FB70-35DE-47F4-9BE5-64290ED5EA2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9788" y="2254388"/>
          <a:ext cx="10512424" cy="384161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44686">
                  <a:extLst>
                    <a:ext uri="{9D8B030D-6E8A-4147-A177-3AD203B41FA5}">
                      <a16:colId xmlns="" xmlns:a16="http://schemas.microsoft.com/office/drawing/2014/main" val="4207544690"/>
                    </a:ext>
                  </a:extLst>
                </a:gridCol>
                <a:gridCol w="1934554">
                  <a:extLst>
                    <a:ext uri="{9D8B030D-6E8A-4147-A177-3AD203B41FA5}">
                      <a16:colId xmlns="" xmlns:a16="http://schemas.microsoft.com/office/drawing/2014/main" val="3504192269"/>
                    </a:ext>
                  </a:extLst>
                </a:gridCol>
                <a:gridCol w="2109200">
                  <a:extLst>
                    <a:ext uri="{9D8B030D-6E8A-4147-A177-3AD203B41FA5}">
                      <a16:colId xmlns="" xmlns:a16="http://schemas.microsoft.com/office/drawing/2014/main" val="4079196091"/>
                    </a:ext>
                  </a:extLst>
                </a:gridCol>
                <a:gridCol w="2283847">
                  <a:extLst>
                    <a:ext uri="{9D8B030D-6E8A-4147-A177-3AD203B41FA5}">
                      <a16:colId xmlns="" xmlns:a16="http://schemas.microsoft.com/office/drawing/2014/main" val="1544564031"/>
                    </a:ext>
                  </a:extLst>
                </a:gridCol>
                <a:gridCol w="2140137">
                  <a:extLst>
                    <a:ext uri="{9D8B030D-6E8A-4147-A177-3AD203B41FA5}">
                      <a16:colId xmlns="" xmlns:a16="http://schemas.microsoft.com/office/drawing/2014/main" val="3470636297"/>
                    </a:ext>
                  </a:extLst>
                </a:gridCol>
              </a:tblGrid>
              <a:tr h="76832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ja-JP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s</a:t>
                      </a:r>
                      <a:endParaRPr lang="ja-JP" altLang="en-US" sz="18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ja-JP" altLang="en-US" sz="12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070" marR="7070" marT="707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G-6000-ISC6205</a:t>
                      </a:r>
                      <a:endParaRPr lang="en-US" sz="18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G-6000-ISC6210</a:t>
                      </a:r>
                      <a:endParaRPr lang="en-US" sz="18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G-6000-ISC6220</a:t>
                      </a:r>
                      <a:endParaRPr lang="en-US" sz="18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43808401"/>
                  </a:ext>
                </a:extLst>
              </a:tr>
              <a:tr h="76832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7070" marR="7070" marT="7070" marB="0" anchor="ctr"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roughput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Gbp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Gbp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Gbp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45953980"/>
                  </a:ext>
                </a:extLst>
              </a:tr>
              <a:tr h="768322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070" marR="7070" marT="707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 Processing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0EP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0EP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00EP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51850791"/>
                  </a:ext>
                </a:extLst>
              </a:tr>
              <a:tr h="76832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inimum Hardware Configuration</a:t>
                      </a: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PU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cores </a:t>
                      </a:r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ja-JP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bits)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cores </a:t>
                      </a:r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ja-JP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bits)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 cores </a:t>
                      </a:r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ja-JP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bits)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8166193"/>
                  </a:ext>
                </a:extLst>
              </a:tr>
              <a:tr h="768322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070" marR="7070" marT="707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ory</a:t>
                      </a:r>
                      <a:endParaRPr lang="ja-JP" alt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G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6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070" marR="7070" marT="707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5239810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88217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1EEAB37B-E325-4CB6-8827-61103E735ED5}"/>
              </a:ext>
            </a:extLst>
          </p:cNvPr>
          <p:cNvSpPr/>
          <p:nvPr/>
        </p:nvSpPr>
        <p:spPr>
          <a:xfrm>
            <a:off x="0" y="1335542"/>
            <a:ext cx="12192000" cy="32151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7175CE1E-9C78-4B93-9491-5BBA5FC89283}"/>
              </a:ext>
            </a:extLst>
          </p:cNvPr>
          <p:cNvSpPr/>
          <p:nvPr/>
        </p:nvSpPr>
        <p:spPr>
          <a:xfrm>
            <a:off x="593003" y="2110224"/>
            <a:ext cx="11017251" cy="41635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8DFD4B-35D3-4179-BD1A-4AD8F5A20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iSource</a:t>
            </a:r>
            <a:r>
              <a:rPr lang="zh-CN" altLang="en-US" dirty="0"/>
              <a:t> </a:t>
            </a:r>
            <a:r>
              <a:rPr lang="en-US" altLang="zh-CN" dirty="0"/>
              <a:t>Ordering Guide</a:t>
            </a:r>
            <a:endParaRPr lang="x-none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="" xmlns:a16="http://schemas.microsoft.com/office/drawing/2014/main" id="{9F35537D-A754-410D-A702-5038B950A1C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9788" y="2241508"/>
          <a:ext cx="10512425" cy="37687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5237">
                  <a:extLst>
                    <a:ext uri="{9D8B030D-6E8A-4147-A177-3AD203B41FA5}">
                      <a16:colId xmlns="" xmlns:a16="http://schemas.microsoft.com/office/drawing/2014/main" val="59028778"/>
                    </a:ext>
                  </a:extLst>
                </a:gridCol>
                <a:gridCol w="3999940">
                  <a:extLst>
                    <a:ext uri="{9D8B030D-6E8A-4147-A177-3AD203B41FA5}">
                      <a16:colId xmlns="" xmlns:a16="http://schemas.microsoft.com/office/drawing/2014/main" val="4045703195"/>
                    </a:ext>
                  </a:extLst>
                </a:gridCol>
                <a:gridCol w="5247248">
                  <a:extLst>
                    <a:ext uri="{9D8B030D-6E8A-4147-A177-3AD203B41FA5}">
                      <a16:colId xmlns="" xmlns:a16="http://schemas.microsoft.com/office/drawing/2014/main" val="3761522662"/>
                    </a:ext>
                  </a:extLst>
                </a:gridCol>
              </a:tblGrid>
              <a:tr h="62651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fini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79535398"/>
                  </a:ext>
                </a:extLst>
              </a:tr>
              <a:tr h="52370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 Syste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G-6000-ISC6205-BP-I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urce</a:t>
                      </a:r>
                      <a:r>
                        <a:rPr lang="zh-CN" alt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C6205</a:t>
                      </a: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ase Syste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99024038"/>
                  </a:ext>
                </a:extLst>
              </a:tr>
              <a:tr h="523708">
                <a:tc vMerge="1">
                  <a:txBody>
                    <a:bodyPr/>
                    <a:lstStyle/>
                    <a:p>
                      <a:endParaRPr lang="en-US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G-6000-ISC62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BP-I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urce</a:t>
                      </a:r>
                      <a:r>
                        <a:rPr lang="zh-CN" alt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C6210</a:t>
                      </a:r>
                      <a:r>
                        <a:rPr lang="zh-CN" alt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 Syste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00311187"/>
                  </a:ext>
                </a:extLst>
              </a:tr>
              <a:tr h="523708">
                <a:tc vMerge="1">
                  <a:txBody>
                    <a:bodyPr/>
                    <a:lstStyle/>
                    <a:p>
                      <a:endParaRPr lang="en-US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G-6000-ISC6220-BP-I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urce</a:t>
                      </a:r>
                      <a:r>
                        <a:rPr lang="zh-CN" alt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C6220</a:t>
                      </a: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Base Syste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11870775"/>
                  </a:ext>
                </a:extLst>
              </a:tr>
              <a:tr h="52370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ftware Maintenance Servi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G-6000-ISC6205-SP-IN1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urce</a:t>
                      </a:r>
                      <a:r>
                        <a:rPr lang="zh-CN" alt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C6205</a:t>
                      </a: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1 Year Software Maintenance Servi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7601684"/>
                  </a:ext>
                </a:extLst>
              </a:tr>
              <a:tr h="5237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G-6000-ISC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10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SP-IN1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urce</a:t>
                      </a:r>
                      <a:r>
                        <a:rPr lang="zh-CN" alt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C6210</a:t>
                      </a: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1 Year Software Maintenance Servi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445903286"/>
                  </a:ext>
                </a:extLst>
              </a:tr>
              <a:tr h="5237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G-6000-ISC6220-SP-IN1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urce</a:t>
                      </a:r>
                      <a:r>
                        <a:rPr lang="zh-CN" alt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C6220</a:t>
                      </a: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1 Year Software Maintenance Servi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498341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541991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2907F4C6-896A-A241-881D-015FEF3A3E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x-none" dirty="0"/>
              <a:t>Deployment</a:t>
            </a:r>
            <a:r>
              <a:rPr lang="zh-CN" altLang="en-US" dirty="0"/>
              <a:t> </a:t>
            </a:r>
            <a:r>
              <a:rPr lang="en-US" altLang="zh-CN" dirty="0"/>
              <a:t>Scenarios</a:t>
            </a:r>
            <a:br>
              <a:rPr lang="en-US" altLang="zh-CN" dirty="0"/>
            </a:br>
            <a:r>
              <a:rPr lang="en-US" altLang="zh-CN" dirty="0"/>
              <a:t>&amp; Use Cases</a:t>
            </a:r>
            <a:endParaRPr lang="x-none" dirty="0"/>
          </a:p>
        </p:txBody>
      </p:sp>
      <p:sp>
        <p:nvSpPr>
          <p:cNvPr id="2" name="副标题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615978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D28C9F3-D458-CB41-BDBB-B49896ED1025}"/>
              </a:ext>
            </a:extLst>
          </p:cNvPr>
          <p:cNvSpPr/>
          <p:nvPr/>
        </p:nvSpPr>
        <p:spPr>
          <a:xfrm>
            <a:off x="9531454" y="2490374"/>
            <a:ext cx="2496620" cy="42535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" name="AutoShape 446"/>
          <p:cNvSpPr>
            <a:spLocks noChangeArrowheads="1"/>
          </p:cNvSpPr>
          <p:nvPr/>
        </p:nvSpPr>
        <p:spPr bwMode="auto">
          <a:xfrm>
            <a:off x="501012" y="1873176"/>
            <a:ext cx="8745647" cy="4870766"/>
          </a:xfrm>
          <a:prstGeom prst="roundRect">
            <a:avLst>
              <a:gd name="adj" fmla="val 8361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00">
              <a:latin typeface="思源黑体 CN Regular" pitchFamily="34" charset="-122"/>
              <a:ea typeface="思源黑体 CN Regular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3943673" y="776339"/>
            <a:ext cx="1445901" cy="894371"/>
            <a:chOff x="2195748" y="1147506"/>
            <a:chExt cx="1445901" cy="894371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5748" y="1147506"/>
              <a:ext cx="1445901" cy="894371"/>
            </a:xfrm>
            <a:prstGeom prst="rect">
              <a:avLst/>
            </a:prstGeom>
          </p:spPr>
        </p:pic>
        <p:sp>
          <p:nvSpPr>
            <p:cNvPr id="6" name="矩形 5">
              <a:extLst>
                <a:ext uri="{FF2B5EF4-FFF2-40B4-BE49-F238E27FC236}">
                  <a16:creationId xmlns="" xmlns:a16="http://schemas.microsoft.com/office/drawing/2014/main" id="{21D99E60-EEDD-D04F-B732-ED2A823E712B}"/>
                </a:ext>
              </a:extLst>
            </p:cNvPr>
            <p:cNvSpPr/>
            <p:nvPr/>
          </p:nvSpPr>
          <p:spPr>
            <a:xfrm>
              <a:off x="2492064" y="1479970"/>
              <a:ext cx="85324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思源黑体 CN Regular" panose="020B0500000000000000" pitchFamily="34" charset="-122"/>
                  <a:ea typeface="思源黑体 CN Regular" panose="020B0500000000000000" pitchFamily="34" charset="-122"/>
                </a:rPr>
                <a:t>Internet</a:t>
              </a:r>
              <a:endParaRPr lang="zh-CN" altLang="en-US" sz="1400" dirty="0">
                <a:solidFill>
                  <a:schemeClr val="bg1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endParaRPr>
            </a:p>
          </p:txBody>
        </p:sp>
      </p:grpSp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F8006053-5575-3A42-8C63-516656B8B8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0935" y="2976407"/>
            <a:ext cx="567222" cy="572894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="" xmlns:a16="http://schemas.microsoft.com/office/drawing/2014/main" id="{F8006053-5575-3A42-8C63-516656B8B8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13030" y="3844031"/>
            <a:ext cx="567222" cy="572894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="" xmlns:a16="http://schemas.microsoft.com/office/drawing/2014/main" id="{2A1BCAC0-B6C7-0A40-BA10-275F36D9D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48136" y="5322550"/>
            <a:ext cx="540195" cy="417677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="" xmlns:a16="http://schemas.microsoft.com/office/drawing/2014/main" id="{2A1BCAC0-B6C7-0A40-BA10-275F36D9D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8049" y="5322549"/>
            <a:ext cx="540195" cy="417677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="" xmlns:a16="http://schemas.microsoft.com/office/drawing/2014/main" id="{2A1BCAC0-B6C7-0A40-BA10-275F36D9D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87962" y="5332819"/>
            <a:ext cx="540195" cy="417677"/>
          </a:xfrm>
          <a:prstGeom prst="rect">
            <a:avLst/>
          </a:prstGeom>
        </p:spPr>
      </p:pic>
      <p:sp>
        <p:nvSpPr>
          <p:cNvPr id="19" name="椭圆 18"/>
          <p:cNvSpPr/>
          <p:nvPr/>
        </p:nvSpPr>
        <p:spPr>
          <a:xfrm>
            <a:off x="2861190" y="4930622"/>
            <a:ext cx="2322399" cy="1314072"/>
          </a:xfrm>
          <a:prstGeom prst="ellipse">
            <a:avLst/>
          </a:prstGeom>
          <a:noFill/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7131" y="2924398"/>
            <a:ext cx="864000" cy="681366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="" xmlns:a16="http://schemas.microsoft.com/office/drawing/2014/main" id="{5F1989E7-1010-174D-B4D7-15652A87128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337" y="5258519"/>
            <a:ext cx="565900" cy="466035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="" xmlns:a16="http://schemas.microsoft.com/office/drawing/2014/main" id="{5F1989E7-1010-174D-B4D7-15652A87128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0704" y="5258518"/>
            <a:ext cx="565900" cy="466035"/>
          </a:xfrm>
          <a:prstGeom prst="rect">
            <a:avLst/>
          </a:prstGeom>
        </p:spPr>
      </p:pic>
      <p:sp>
        <p:nvSpPr>
          <p:cNvPr id="24" name="椭圆 23"/>
          <p:cNvSpPr/>
          <p:nvPr/>
        </p:nvSpPr>
        <p:spPr>
          <a:xfrm>
            <a:off x="5435930" y="4920915"/>
            <a:ext cx="2322399" cy="1314072"/>
          </a:xfrm>
          <a:prstGeom prst="ellipse">
            <a:avLst/>
          </a:prstGeom>
          <a:noFill/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文本框 24"/>
          <p:cNvSpPr txBox="1"/>
          <p:nvPr/>
        </p:nvSpPr>
        <p:spPr>
          <a:xfrm>
            <a:off x="3620862" y="5948471"/>
            <a:ext cx="9048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/>
              <a:t>Servers</a:t>
            </a:r>
            <a:endParaRPr lang="zh-CN" altLang="en-US" sz="1400" b="1" dirty="0"/>
          </a:p>
        </p:txBody>
      </p:sp>
      <p:sp>
        <p:nvSpPr>
          <p:cNvPr id="26" name="文本框 25"/>
          <p:cNvSpPr txBox="1"/>
          <p:nvPr/>
        </p:nvSpPr>
        <p:spPr>
          <a:xfrm>
            <a:off x="4381086" y="5684683"/>
            <a:ext cx="599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Linux</a:t>
            </a:r>
            <a:endParaRPr lang="zh-CN" altLang="en-US" sz="1200" dirty="0"/>
          </a:p>
        </p:txBody>
      </p:sp>
      <p:sp>
        <p:nvSpPr>
          <p:cNvPr id="27" name="文本框 26"/>
          <p:cNvSpPr txBox="1"/>
          <p:nvPr/>
        </p:nvSpPr>
        <p:spPr>
          <a:xfrm>
            <a:off x="6748810" y="5676846"/>
            <a:ext cx="599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Linux</a:t>
            </a:r>
            <a:endParaRPr lang="zh-CN" altLang="en-US" sz="1200" dirty="0"/>
          </a:p>
        </p:txBody>
      </p:sp>
      <p:sp>
        <p:nvSpPr>
          <p:cNvPr id="28" name="文本框 27"/>
          <p:cNvSpPr txBox="1"/>
          <p:nvPr/>
        </p:nvSpPr>
        <p:spPr>
          <a:xfrm>
            <a:off x="5807153" y="5684388"/>
            <a:ext cx="10096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Windows</a:t>
            </a:r>
            <a:endParaRPr lang="zh-CN" altLang="en-US" sz="1200" dirty="0"/>
          </a:p>
        </p:txBody>
      </p:sp>
      <p:sp>
        <p:nvSpPr>
          <p:cNvPr id="29" name="文本框 28"/>
          <p:cNvSpPr txBox="1"/>
          <p:nvPr/>
        </p:nvSpPr>
        <p:spPr>
          <a:xfrm>
            <a:off x="6186790" y="5936917"/>
            <a:ext cx="10096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/>
              <a:t>Endpoints</a:t>
            </a:r>
            <a:endParaRPr lang="zh-CN" altLang="en-US" sz="1400" b="1" dirty="0"/>
          </a:p>
        </p:txBody>
      </p:sp>
      <p:cxnSp>
        <p:nvCxnSpPr>
          <p:cNvPr id="30" name="直接连接符 29"/>
          <p:cNvCxnSpPr/>
          <p:nvPr/>
        </p:nvCxnSpPr>
        <p:spPr>
          <a:xfrm flipV="1">
            <a:off x="4607191" y="1592520"/>
            <a:ext cx="0" cy="322630"/>
          </a:xfrm>
          <a:prstGeom prst="line">
            <a:avLst/>
          </a:prstGeom>
          <a:ln w="19050"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>
            <a:stCxn id="8" idx="0"/>
          </p:cNvCxnSpPr>
          <p:nvPr/>
        </p:nvCxnSpPr>
        <p:spPr>
          <a:xfrm flipH="1" flipV="1">
            <a:off x="4643403" y="2479759"/>
            <a:ext cx="1143" cy="496648"/>
          </a:xfrm>
          <a:prstGeom prst="line">
            <a:avLst/>
          </a:prstGeom>
          <a:ln w="19050"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>
            <a:off x="2311705" y="2810387"/>
            <a:ext cx="2058283" cy="45246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293" y="2629146"/>
            <a:ext cx="1440000" cy="410686"/>
          </a:xfrm>
          <a:prstGeom prst="rect">
            <a:avLst/>
          </a:prstGeom>
        </p:spPr>
      </p:pic>
      <p:cxnSp>
        <p:nvCxnSpPr>
          <p:cNvPr id="43" name="直接连接符 42"/>
          <p:cNvCxnSpPr/>
          <p:nvPr/>
        </p:nvCxnSpPr>
        <p:spPr>
          <a:xfrm>
            <a:off x="2401275" y="2962787"/>
            <a:ext cx="1958517" cy="43053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/>
          <p:cNvSpPr txBox="1"/>
          <p:nvPr/>
        </p:nvSpPr>
        <p:spPr>
          <a:xfrm rot="727735">
            <a:off x="2456679" y="2754771"/>
            <a:ext cx="14847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MGT: 10.180.0.3</a:t>
            </a:r>
            <a:endParaRPr lang="zh-CN" altLang="en-US" sz="1400" dirty="0"/>
          </a:p>
        </p:txBody>
      </p:sp>
      <p:sp>
        <p:nvSpPr>
          <p:cNvPr id="46" name="文本框 45"/>
          <p:cNvSpPr txBox="1"/>
          <p:nvPr/>
        </p:nvSpPr>
        <p:spPr>
          <a:xfrm rot="727735">
            <a:off x="2391302" y="3064319"/>
            <a:ext cx="14847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eth0/2</a:t>
            </a:r>
            <a:endParaRPr lang="zh-CN" altLang="en-US" sz="1400" dirty="0"/>
          </a:p>
        </p:txBody>
      </p:sp>
      <p:cxnSp>
        <p:nvCxnSpPr>
          <p:cNvPr id="48" name="直接连接符 47"/>
          <p:cNvCxnSpPr>
            <a:stCxn id="8" idx="3"/>
            <a:endCxn id="20" idx="1"/>
          </p:cNvCxnSpPr>
          <p:nvPr/>
        </p:nvCxnSpPr>
        <p:spPr>
          <a:xfrm>
            <a:off x="4928157" y="3262854"/>
            <a:ext cx="2168974" cy="222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/>
          <p:cNvSpPr txBox="1"/>
          <p:nvPr/>
        </p:nvSpPr>
        <p:spPr>
          <a:xfrm>
            <a:off x="5299044" y="2998074"/>
            <a:ext cx="1907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eth0:10.180.0.4</a:t>
            </a:r>
            <a:endParaRPr lang="zh-CN" altLang="en-US" sz="1400" dirty="0"/>
          </a:p>
        </p:txBody>
      </p:sp>
      <p:cxnSp>
        <p:nvCxnSpPr>
          <p:cNvPr id="54" name="直接连接符 53"/>
          <p:cNvCxnSpPr/>
          <p:nvPr/>
        </p:nvCxnSpPr>
        <p:spPr>
          <a:xfrm flipV="1">
            <a:off x="2311705" y="4121425"/>
            <a:ext cx="1482008" cy="74242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 flipV="1">
            <a:off x="2351430" y="4234404"/>
            <a:ext cx="1482008" cy="74242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293" y="4617173"/>
            <a:ext cx="1440000" cy="410686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="" xmlns:a16="http://schemas.microsoft.com/office/drawing/2014/main" id="{F8006053-5575-3A42-8C63-516656B8B8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713" y="3844031"/>
            <a:ext cx="567222" cy="572894"/>
          </a:xfrm>
          <a:prstGeom prst="rect">
            <a:avLst/>
          </a:prstGeom>
        </p:spPr>
      </p:pic>
      <p:sp>
        <p:nvSpPr>
          <p:cNvPr id="58" name="文本框 57"/>
          <p:cNvSpPr txBox="1"/>
          <p:nvPr/>
        </p:nvSpPr>
        <p:spPr>
          <a:xfrm rot="19994222">
            <a:off x="2215219" y="4255041"/>
            <a:ext cx="14847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MGT: 10.180.0.5</a:t>
            </a:r>
            <a:endParaRPr lang="zh-CN" altLang="en-US" sz="1400" dirty="0"/>
          </a:p>
        </p:txBody>
      </p:sp>
      <p:sp>
        <p:nvSpPr>
          <p:cNvPr id="59" name="文本框 58"/>
          <p:cNvSpPr txBox="1"/>
          <p:nvPr/>
        </p:nvSpPr>
        <p:spPr>
          <a:xfrm rot="19991052">
            <a:off x="2398664" y="4547765"/>
            <a:ext cx="14847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eth0/2</a:t>
            </a:r>
            <a:endParaRPr lang="zh-CN" altLang="en-US" sz="1400" dirty="0"/>
          </a:p>
        </p:txBody>
      </p:sp>
      <p:cxnSp>
        <p:nvCxnSpPr>
          <p:cNvPr id="61" name="直接连接符 60"/>
          <p:cNvCxnSpPr>
            <a:stCxn id="12" idx="2"/>
            <a:endCxn id="16" idx="0"/>
          </p:cNvCxnSpPr>
          <p:nvPr/>
        </p:nvCxnSpPr>
        <p:spPr>
          <a:xfrm flipH="1">
            <a:off x="3418234" y="4416925"/>
            <a:ext cx="659090" cy="90562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/>
          <p:cNvCxnSpPr>
            <a:endCxn id="17" idx="0"/>
          </p:cNvCxnSpPr>
          <p:nvPr/>
        </p:nvCxnSpPr>
        <p:spPr>
          <a:xfrm flipH="1">
            <a:off x="4038147" y="4405371"/>
            <a:ext cx="39176" cy="91717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>
            <a:endCxn id="18" idx="0"/>
          </p:cNvCxnSpPr>
          <p:nvPr/>
        </p:nvCxnSpPr>
        <p:spPr>
          <a:xfrm>
            <a:off x="4084080" y="4416819"/>
            <a:ext cx="573980" cy="91600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/>
          <p:cNvCxnSpPr>
            <a:endCxn id="22" idx="0"/>
          </p:cNvCxnSpPr>
          <p:nvPr/>
        </p:nvCxnSpPr>
        <p:spPr>
          <a:xfrm flipH="1">
            <a:off x="6186287" y="4400650"/>
            <a:ext cx="422611" cy="85786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70"/>
          <p:cNvCxnSpPr>
            <a:endCxn id="23" idx="0"/>
          </p:cNvCxnSpPr>
          <p:nvPr/>
        </p:nvCxnSpPr>
        <p:spPr>
          <a:xfrm>
            <a:off x="6615654" y="4400544"/>
            <a:ext cx="398000" cy="857974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文本框 73"/>
          <p:cNvSpPr txBox="1"/>
          <p:nvPr/>
        </p:nvSpPr>
        <p:spPr>
          <a:xfrm>
            <a:off x="4848469" y="2290560"/>
            <a:ext cx="17907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Gateway: 10.180.0.1</a:t>
            </a:r>
            <a:endParaRPr lang="zh-CN" altLang="en-US" sz="1400" dirty="0"/>
          </a:p>
        </p:txBody>
      </p:sp>
      <p:sp>
        <p:nvSpPr>
          <p:cNvPr id="87" name="任意多边形 86"/>
          <p:cNvSpPr/>
          <p:nvPr/>
        </p:nvSpPr>
        <p:spPr>
          <a:xfrm>
            <a:off x="4919104" y="2171941"/>
            <a:ext cx="2534970" cy="751438"/>
          </a:xfrm>
          <a:custGeom>
            <a:avLst/>
            <a:gdLst>
              <a:gd name="connsiteX0" fmla="*/ 0 w 2534970"/>
              <a:gd name="connsiteY0" fmla="*/ 0 h 751438"/>
              <a:gd name="connsiteX1" fmla="*/ 1910281 w 2534970"/>
              <a:gd name="connsiteY1" fmla="*/ 144856 h 751438"/>
              <a:gd name="connsiteX2" fmla="*/ 2534970 w 2534970"/>
              <a:gd name="connsiteY2" fmla="*/ 751438 h 751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34970" h="751438">
                <a:moveTo>
                  <a:pt x="0" y="0"/>
                </a:moveTo>
                <a:cubicBezTo>
                  <a:pt x="743893" y="9808"/>
                  <a:pt x="1487786" y="19616"/>
                  <a:pt x="1910281" y="144856"/>
                </a:cubicBezTo>
                <a:cubicBezTo>
                  <a:pt x="2332776" y="270096"/>
                  <a:pt x="2444435" y="682028"/>
                  <a:pt x="2534970" y="751438"/>
                </a:cubicBezTo>
              </a:path>
            </a:pathLst>
          </a:custGeom>
          <a:noFill/>
          <a:ln w="1905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文本框 87"/>
          <p:cNvSpPr txBox="1"/>
          <p:nvPr/>
        </p:nvSpPr>
        <p:spPr>
          <a:xfrm rot="437146">
            <a:off x="5758220" y="1921770"/>
            <a:ext cx="1473334" cy="310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</a:rPr>
              <a:t>Syslog/ </a:t>
            </a:r>
            <a:r>
              <a:rPr lang="en-US" altLang="zh-CN" sz="1400" dirty="0" err="1">
                <a:solidFill>
                  <a:schemeClr val="accent1">
                    <a:lumMod val="75000"/>
                  </a:schemeClr>
                </a:solidFill>
              </a:rPr>
              <a:t>NetFlow</a:t>
            </a:r>
            <a:endParaRPr lang="zh-CN" altLang="en-US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9" name="任意多边形 80">
            <a:extLst>
              <a:ext uri="{FF2B5EF4-FFF2-40B4-BE49-F238E27FC236}">
                <a16:creationId xmlns="" xmlns:a16="http://schemas.microsoft.com/office/drawing/2014/main" id="{C2ACBE05-8565-4FF3-8DF0-9682F777F539}"/>
              </a:ext>
            </a:extLst>
          </p:cNvPr>
          <p:cNvSpPr/>
          <p:nvPr/>
        </p:nvSpPr>
        <p:spPr>
          <a:xfrm rot="4064462">
            <a:off x="3743194" y="617252"/>
            <a:ext cx="2061542" cy="4477260"/>
          </a:xfrm>
          <a:custGeom>
            <a:avLst/>
            <a:gdLst>
              <a:gd name="connsiteX0" fmla="*/ 0 w 1320800"/>
              <a:gd name="connsiteY0" fmla="*/ 3505200 h 3505200"/>
              <a:gd name="connsiteX1" fmla="*/ 546100 w 1320800"/>
              <a:gd name="connsiteY1" fmla="*/ 1422400 h 3505200"/>
              <a:gd name="connsiteX2" fmla="*/ 1320800 w 1320800"/>
              <a:gd name="connsiteY2" fmla="*/ 0 h 350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20800" h="3505200">
                <a:moveTo>
                  <a:pt x="0" y="3505200"/>
                </a:moveTo>
                <a:cubicBezTo>
                  <a:pt x="162983" y="2755900"/>
                  <a:pt x="325967" y="2006600"/>
                  <a:pt x="546100" y="1422400"/>
                </a:cubicBezTo>
                <a:cubicBezTo>
                  <a:pt x="766233" y="838200"/>
                  <a:pt x="1043516" y="419100"/>
                  <a:pt x="1320800" y="0"/>
                </a:cubicBezTo>
              </a:path>
            </a:pathLst>
          </a:custGeom>
          <a:noFill/>
          <a:ln w="28575" cap="rnd">
            <a:solidFill>
              <a:schemeClr val="bg2"/>
            </a:solidFill>
            <a:prstDash val="sysDash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 rot="21193291">
            <a:off x="2468228" y="2298030"/>
            <a:ext cx="179074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70C0"/>
                </a:solidFill>
              </a:rPr>
              <a:t>Meta data/ </a:t>
            </a:r>
            <a:r>
              <a:rPr lang="en-US" altLang="zh-CN" sz="1400" dirty="0" err="1">
                <a:solidFill>
                  <a:srgbClr val="0070C0"/>
                </a:solidFill>
              </a:rPr>
              <a:t>NetFlow</a:t>
            </a:r>
            <a:endParaRPr lang="zh-CN" altLang="en-US" sz="1400" dirty="0">
              <a:solidFill>
                <a:srgbClr val="0070C0"/>
              </a:solidFill>
            </a:endParaRPr>
          </a:p>
        </p:txBody>
      </p:sp>
      <p:sp>
        <p:nvSpPr>
          <p:cNvPr id="91" name="任意多边形 90"/>
          <p:cNvSpPr/>
          <p:nvPr/>
        </p:nvSpPr>
        <p:spPr>
          <a:xfrm>
            <a:off x="2311705" y="3050631"/>
            <a:ext cx="2055138" cy="493665"/>
          </a:xfrm>
          <a:custGeom>
            <a:avLst/>
            <a:gdLst>
              <a:gd name="connsiteX0" fmla="*/ 2082297 w 2082297"/>
              <a:gd name="connsiteY0" fmla="*/ 470781 h 530384"/>
              <a:gd name="connsiteX1" fmla="*/ 787651 w 2082297"/>
              <a:gd name="connsiteY1" fmla="*/ 488887 h 530384"/>
              <a:gd name="connsiteX2" fmla="*/ 0 w 2082297"/>
              <a:gd name="connsiteY2" fmla="*/ 0 h 530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82297" h="530384">
                <a:moveTo>
                  <a:pt x="2082297" y="470781"/>
                </a:moveTo>
                <a:cubicBezTo>
                  <a:pt x="1608498" y="519065"/>
                  <a:pt x="1134700" y="567350"/>
                  <a:pt x="787651" y="488887"/>
                </a:cubicBezTo>
                <a:cubicBezTo>
                  <a:pt x="440602" y="410424"/>
                  <a:pt x="110150" y="87517"/>
                  <a:pt x="0" y="0"/>
                </a:cubicBezTo>
              </a:path>
            </a:pathLst>
          </a:custGeom>
          <a:noFill/>
          <a:ln w="19050">
            <a:solidFill>
              <a:srgbClr val="FF000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框 91"/>
          <p:cNvSpPr txBox="1"/>
          <p:nvPr/>
        </p:nvSpPr>
        <p:spPr>
          <a:xfrm rot="437146">
            <a:off x="2891202" y="3226882"/>
            <a:ext cx="7470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mirror</a:t>
            </a:r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93" name="任意多边形 92"/>
          <p:cNvSpPr/>
          <p:nvPr/>
        </p:nvSpPr>
        <p:spPr>
          <a:xfrm>
            <a:off x="2284546" y="3267852"/>
            <a:ext cx="4861710" cy="1366631"/>
          </a:xfrm>
          <a:custGeom>
            <a:avLst/>
            <a:gdLst>
              <a:gd name="connsiteX0" fmla="*/ 0 w 4861710"/>
              <a:gd name="connsiteY0" fmla="*/ 1566250 h 1566250"/>
              <a:gd name="connsiteX1" fmla="*/ 1810693 w 4861710"/>
              <a:gd name="connsiteY1" fmla="*/ 588475 h 1566250"/>
              <a:gd name="connsiteX2" fmla="*/ 4861710 w 4861710"/>
              <a:gd name="connsiteY2" fmla="*/ 0 h 156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61710" h="1566250">
                <a:moveTo>
                  <a:pt x="0" y="1566250"/>
                </a:moveTo>
                <a:cubicBezTo>
                  <a:pt x="500204" y="1207883"/>
                  <a:pt x="1000408" y="849517"/>
                  <a:pt x="1810693" y="588475"/>
                </a:cubicBezTo>
                <a:cubicBezTo>
                  <a:pt x="2620978" y="327433"/>
                  <a:pt x="4329065" y="86008"/>
                  <a:pt x="4861710" y="0"/>
                </a:cubicBezTo>
              </a:path>
            </a:pathLst>
          </a:custGeom>
          <a:noFill/>
          <a:ln w="1905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文本框 93"/>
          <p:cNvSpPr txBox="1"/>
          <p:nvPr/>
        </p:nvSpPr>
        <p:spPr>
          <a:xfrm rot="19960134">
            <a:off x="2066734" y="3863145"/>
            <a:ext cx="2176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</a:rPr>
              <a:t>Threat information (Syslog)</a:t>
            </a:r>
            <a:endParaRPr lang="zh-CN" altLang="en-US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5" name="任意多边形 94"/>
          <p:cNvSpPr/>
          <p:nvPr/>
        </p:nvSpPr>
        <p:spPr>
          <a:xfrm>
            <a:off x="2094423" y="4399094"/>
            <a:ext cx="1692998" cy="771453"/>
          </a:xfrm>
          <a:custGeom>
            <a:avLst/>
            <a:gdLst>
              <a:gd name="connsiteX0" fmla="*/ 1692998 w 1692998"/>
              <a:gd name="connsiteY0" fmla="*/ 0 h 771453"/>
              <a:gd name="connsiteX1" fmla="*/ 787651 w 1692998"/>
              <a:gd name="connsiteY1" fmla="*/ 733330 h 771453"/>
              <a:gd name="connsiteX2" fmla="*/ 0 w 1692998"/>
              <a:gd name="connsiteY2" fmla="*/ 660903 h 771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2998" h="771453">
                <a:moveTo>
                  <a:pt x="1692998" y="0"/>
                </a:moveTo>
                <a:cubicBezTo>
                  <a:pt x="1381407" y="311590"/>
                  <a:pt x="1069817" y="623180"/>
                  <a:pt x="787651" y="733330"/>
                </a:cubicBezTo>
                <a:cubicBezTo>
                  <a:pt x="505485" y="843480"/>
                  <a:pt x="116186" y="682028"/>
                  <a:pt x="0" y="660903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任意多边形 98"/>
          <p:cNvSpPr/>
          <p:nvPr/>
        </p:nvSpPr>
        <p:spPr>
          <a:xfrm>
            <a:off x="2319107" y="4373892"/>
            <a:ext cx="1525960" cy="833486"/>
          </a:xfrm>
          <a:custGeom>
            <a:avLst/>
            <a:gdLst>
              <a:gd name="connsiteX0" fmla="*/ 1665838 w 1665838"/>
              <a:gd name="connsiteY0" fmla="*/ 0 h 774679"/>
              <a:gd name="connsiteX1" fmla="*/ 814812 w 1665838"/>
              <a:gd name="connsiteY1" fmla="*/ 751438 h 774679"/>
              <a:gd name="connsiteX2" fmla="*/ 0 w 1665838"/>
              <a:gd name="connsiteY2" fmla="*/ 588476 h 774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5838" h="774679">
                <a:moveTo>
                  <a:pt x="1665838" y="0"/>
                </a:moveTo>
                <a:cubicBezTo>
                  <a:pt x="1379145" y="326679"/>
                  <a:pt x="1092452" y="653359"/>
                  <a:pt x="814812" y="751438"/>
                </a:cubicBezTo>
                <a:cubicBezTo>
                  <a:pt x="537172" y="849517"/>
                  <a:pt x="138820" y="606583"/>
                  <a:pt x="0" y="588476"/>
                </a:cubicBezTo>
              </a:path>
            </a:pathLst>
          </a:custGeom>
          <a:noFill/>
          <a:ln w="19050">
            <a:solidFill>
              <a:srgbClr val="C0000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文本框 99"/>
          <p:cNvSpPr txBox="1"/>
          <p:nvPr/>
        </p:nvSpPr>
        <p:spPr>
          <a:xfrm rot="20865710">
            <a:off x="2635859" y="4872938"/>
            <a:ext cx="7470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mirror</a:t>
            </a:r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101" name="任意多边形 100"/>
          <p:cNvSpPr/>
          <p:nvPr/>
        </p:nvSpPr>
        <p:spPr>
          <a:xfrm>
            <a:off x="4059025" y="3339838"/>
            <a:ext cx="3032911" cy="1982709"/>
          </a:xfrm>
          <a:custGeom>
            <a:avLst/>
            <a:gdLst>
              <a:gd name="connsiteX0" fmla="*/ 0 w 3032911"/>
              <a:gd name="connsiteY0" fmla="*/ 1982709 h 1982709"/>
              <a:gd name="connsiteX1" fmla="*/ 1330859 w 3032911"/>
              <a:gd name="connsiteY1" fmla="*/ 679010 h 1982709"/>
              <a:gd name="connsiteX2" fmla="*/ 3032911 w 3032911"/>
              <a:gd name="connsiteY2" fmla="*/ 0 h 1982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2911" h="1982709">
                <a:moveTo>
                  <a:pt x="0" y="1982709"/>
                </a:moveTo>
                <a:cubicBezTo>
                  <a:pt x="412687" y="1496085"/>
                  <a:pt x="825374" y="1009461"/>
                  <a:pt x="1330859" y="679010"/>
                </a:cubicBezTo>
                <a:cubicBezTo>
                  <a:pt x="1836344" y="348559"/>
                  <a:pt x="2434627" y="174279"/>
                  <a:pt x="3032911" y="0"/>
                </a:cubicBezTo>
              </a:path>
            </a:pathLst>
          </a:custGeom>
          <a:noFill/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文本框 101"/>
          <p:cNvSpPr txBox="1"/>
          <p:nvPr/>
        </p:nvSpPr>
        <p:spPr>
          <a:xfrm rot="19497111">
            <a:off x="4685716" y="3656138"/>
            <a:ext cx="14847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err="1">
                <a:solidFill>
                  <a:srgbClr val="00B050"/>
                </a:solidFill>
              </a:rPr>
              <a:t>Sysmon</a:t>
            </a:r>
            <a:endParaRPr lang="zh-CN" altLang="en-US" sz="1400" dirty="0">
              <a:solidFill>
                <a:srgbClr val="00B050"/>
              </a:solidFill>
            </a:endParaRPr>
          </a:p>
        </p:txBody>
      </p:sp>
      <p:sp>
        <p:nvSpPr>
          <p:cNvPr id="103" name="任意多边形 102"/>
          <p:cNvSpPr/>
          <p:nvPr/>
        </p:nvSpPr>
        <p:spPr>
          <a:xfrm>
            <a:off x="4683714" y="3403212"/>
            <a:ext cx="2417275" cy="1946495"/>
          </a:xfrm>
          <a:custGeom>
            <a:avLst/>
            <a:gdLst>
              <a:gd name="connsiteX0" fmla="*/ 0 w 2417275"/>
              <a:gd name="connsiteY0" fmla="*/ 1946495 h 1946495"/>
              <a:gd name="connsiteX1" fmla="*/ 1023042 w 2417275"/>
              <a:gd name="connsiteY1" fmla="*/ 796705 h 1946495"/>
              <a:gd name="connsiteX2" fmla="*/ 2417275 w 2417275"/>
              <a:gd name="connsiteY2" fmla="*/ 0 h 1946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17275" h="1946495">
                <a:moveTo>
                  <a:pt x="0" y="1946495"/>
                </a:moveTo>
                <a:cubicBezTo>
                  <a:pt x="310081" y="1533808"/>
                  <a:pt x="620163" y="1121121"/>
                  <a:pt x="1023042" y="796705"/>
                </a:cubicBezTo>
                <a:cubicBezTo>
                  <a:pt x="1425921" y="472289"/>
                  <a:pt x="2186412" y="131275"/>
                  <a:pt x="2417275" y="0"/>
                </a:cubicBezTo>
              </a:path>
            </a:pathLst>
          </a:custGeom>
          <a:noFill/>
          <a:ln w="19050">
            <a:solidFill>
              <a:srgbClr val="7030A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文本框 103"/>
          <p:cNvSpPr txBox="1"/>
          <p:nvPr/>
        </p:nvSpPr>
        <p:spPr>
          <a:xfrm rot="19497111">
            <a:off x="5246724" y="3708476"/>
            <a:ext cx="14847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7030A0"/>
                </a:solidFill>
              </a:rPr>
              <a:t>Linux</a:t>
            </a:r>
            <a:endParaRPr lang="zh-CN" altLang="en-US" sz="1400" dirty="0">
              <a:solidFill>
                <a:srgbClr val="7030A0"/>
              </a:solidFill>
            </a:endParaRPr>
          </a:p>
        </p:txBody>
      </p:sp>
      <p:sp>
        <p:nvSpPr>
          <p:cNvPr id="105" name="任意多边形 104"/>
          <p:cNvSpPr/>
          <p:nvPr/>
        </p:nvSpPr>
        <p:spPr>
          <a:xfrm>
            <a:off x="6192747" y="3548069"/>
            <a:ext cx="1209866" cy="1708323"/>
          </a:xfrm>
          <a:custGeom>
            <a:avLst/>
            <a:gdLst>
              <a:gd name="connsiteX0" fmla="*/ 0 w 1170756"/>
              <a:gd name="connsiteY0" fmla="*/ 1711105 h 1711105"/>
              <a:gd name="connsiteX1" fmla="*/ 1004935 w 1170756"/>
              <a:gd name="connsiteY1" fmla="*/ 1023041 h 1711105"/>
              <a:gd name="connsiteX2" fmla="*/ 1158844 w 1170756"/>
              <a:gd name="connsiteY2" fmla="*/ 0 h 1711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0756" h="1711105">
                <a:moveTo>
                  <a:pt x="0" y="1711105"/>
                </a:moveTo>
                <a:cubicBezTo>
                  <a:pt x="405897" y="1509665"/>
                  <a:pt x="811794" y="1308225"/>
                  <a:pt x="1004935" y="1023041"/>
                </a:cubicBezTo>
                <a:cubicBezTo>
                  <a:pt x="1198076" y="737857"/>
                  <a:pt x="1178460" y="368928"/>
                  <a:pt x="1158844" y="0"/>
                </a:cubicBezTo>
              </a:path>
            </a:pathLst>
          </a:custGeom>
          <a:noFill/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文本框 105"/>
          <p:cNvSpPr txBox="1"/>
          <p:nvPr/>
        </p:nvSpPr>
        <p:spPr>
          <a:xfrm rot="18459495">
            <a:off x="6563708" y="4024656"/>
            <a:ext cx="14847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err="1">
                <a:solidFill>
                  <a:srgbClr val="00B050"/>
                </a:solidFill>
              </a:rPr>
              <a:t>Sysmon</a:t>
            </a:r>
            <a:endParaRPr lang="zh-CN" altLang="en-US" sz="1400" dirty="0">
              <a:solidFill>
                <a:srgbClr val="00B050"/>
              </a:solidFill>
            </a:endParaRPr>
          </a:p>
        </p:txBody>
      </p:sp>
      <p:sp>
        <p:nvSpPr>
          <p:cNvPr id="107" name="任意多边形 106"/>
          <p:cNvSpPr/>
          <p:nvPr/>
        </p:nvSpPr>
        <p:spPr>
          <a:xfrm>
            <a:off x="7019508" y="3439426"/>
            <a:ext cx="688063" cy="1819747"/>
          </a:xfrm>
          <a:custGeom>
            <a:avLst/>
            <a:gdLst>
              <a:gd name="connsiteX0" fmla="*/ 0 w 688063"/>
              <a:gd name="connsiteY0" fmla="*/ 1819747 h 1819747"/>
              <a:gd name="connsiteX1" fmla="*/ 615636 w 688063"/>
              <a:gd name="connsiteY1" fmla="*/ 1023042 h 1819747"/>
              <a:gd name="connsiteX2" fmla="*/ 651849 w 688063"/>
              <a:gd name="connsiteY2" fmla="*/ 0 h 1819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8063" h="1819747">
                <a:moveTo>
                  <a:pt x="0" y="1819747"/>
                </a:moveTo>
                <a:cubicBezTo>
                  <a:pt x="253497" y="1573040"/>
                  <a:pt x="506995" y="1326333"/>
                  <a:pt x="615636" y="1023042"/>
                </a:cubicBezTo>
                <a:cubicBezTo>
                  <a:pt x="724278" y="719751"/>
                  <a:pt x="688063" y="359875"/>
                  <a:pt x="651849" y="0"/>
                </a:cubicBezTo>
              </a:path>
            </a:pathLst>
          </a:custGeom>
          <a:noFill/>
          <a:ln w="19050">
            <a:solidFill>
              <a:srgbClr val="7030A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文本框 107"/>
          <p:cNvSpPr txBox="1"/>
          <p:nvPr/>
        </p:nvSpPr>
        <p:spPr>
          <a:xfrm rot="17709031">
            <a:off x="6911387" y="3825649"/>
            <a:ext cx="15837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7030A0"/>
                </a:solidFill>
              </a:rPr>
              <a:t>Linux</a:t>
            </a:r>
            <a:endParaRPr lang="zh-CN" altLang="en-US" sz="1400" dirty="0">
              <a:solidFill>
                <a:srgbClr val="7030A0"/>
              </a:solidFill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3923406" y="6290613"/>
            <a:ext cx="2129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Internal Network</a:t>
            </a:r>
            <a:endParaRPr lang="zh-CN" altLang="en-US" b="1" dirty="0"/>
          </a:p>
        </p:txBody>
      </p:sp>
      <p:cxnSp>
        <p:nvCxnSpPr>
          <p:cNvPr id="110" name="直接连接符 109"/>
          <p:cNvCxnSpPr>
            <a:stCxn id="12" idx="0"/>
          </p:cNvCxnSpPr>
          <p:nvPr/>
        </p:nvCxnSpPr>
        <p:spPr>
          <a:xfrm flipV="1">
            <a:off x="4077324" y="3537369"/>
            <a:ext cx="555100" cy="306662"/>
          </a:xfrm>
          <a:prstGeom prst="line">
            <a:avLst/>
          </a:prstGeom>
          <a:ln w="19050"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连接符 111"/>
          <p:cNvCxnSpPr>
            <a:stCxn id="13" idx="0"/>
          </p:cNvCxnSpPr>
          <p:nvPr/>
        </p:nvCxnSpPr>
        <p:spPr>
          <a:xfrm flipH="1" flipV="1">
            <a:off x="4652160" y="3520385"/>
            <a:ext cx="1944481" cy="323646"/>
          </a:xfrm>
          <a:prstGeom prst="line">
            <a:avLst/>
          </a:prstGeom>
          <a:ln w="19050"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矩形 113">
            <a:extLst>
              <a:ext uri="{FF2B5EF4-FFF2-40B4-BE49-F238E27FC236}">
                <a16:creationId xmlns="" xmlns:a16="http://schemas.microsoft.com/office/drawing/2014/main" id="{21D99E60-EEDD-D04F-B732-ED2A823E712B}"/>
              </a:ext>
            </a:extLst>
          </p:cNvPr>
          <p:cNvSpPr/>
          <p:nvPr/>
        </p:nvSpPr>
        <p:spPr>
          <a:xfrm>
            <a:off x="1484544" y="2593756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rPr>
              <a:t>BDS</a:t>
            </a:r>
            <a:endParaRPr lang="zh-CN" altLang="en-US" sz="1400" dirty="0">
              <a:solidFill>
                <a:schemeClr val="bg1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="" xmlns:a16="http://schemas.microsoft.com/office/drawing/2014/main" id="{21D99E60-EEDD-D04F-B732-ED2A823E712B}"/>
              </a:ext>
            </a:extLst>
          </p:cNvPr>
          <p:cNvSpPr/>
          <p:nvPr/>
        </p:nvSpPr>
        <p:spPr>
          <a:xfrm>
            <a:off x="1480667" y="4572852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rPr>
              <a:t>BDS</a:t>
            </a:r>
            <a:endParaRPr lang="zh-CN" altLang="en-US" sz="1400" dirty="0">
              <a:solidFill>
                <a:schemeClr val="bg1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</a:endParaRPr>
          </a:p>
        </p:txBody>
      </p:sp>
      <p:sp>
        <p:nvSpPr>
          <p:cNvPr id="116" name="文本框 115"/>
          <p:cNvSpPr txBox="1"/>
          <p:nvPr/>
        </p:nvSpPr>
        <p:spPr>
          <a:xfrm>
            <a:off x="7925374" y="3095435"/>
            <a:ext cx="9048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 err="1"/>
              <a:t>iSource</a:t>
            </a:r>
            <a:endParaRPr lang="zh-CN" altLang="en-US" sz="1400" b="1" dirty="0"/>
          </a:p>
        </p:txBody>
      </p:sp>
      <p:pic>
        <p:nvPicPr>
          <p:cNvPr id="117" name="图片 116">
            <a:extLst>
              <a:ext uri="{FF2B5EF4-FFF2-40B4-BE49-F238E27FC236}">
                <a16:creationId xmlns="" xmlns:a16="http://schemas.microsoft.com/office/drawing/2014/main" id="{1B673665-4E0E-B74E-B955-20A9BED6F3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47771" y="1911358"/>
            <a:ext cx="573283" cy="579016"/>
          </a:xfrm>
          <a:prstGeom prst="rect">
            <a:avLst/>
          </a:prstGeom>
        </p:spPr>
      </p:pic>
      <p:sp>
        <p:nvSpPr>
          <p:cNvPr id="68" name="Title 1">
            <a:extLst>
              <a:ext uri="{FF2B5EF4-FFF2-40B4-BE49-F238E27FC236}">
                <a16:creationId xmlns="" xmlns:a16="http://schemas.microsoft.com/office/drawing/2014/main" id="{653657F4-4B27-3549-AB5E-4B732BAF63CF}"/>
              </a:ext>
            </a:extLst>
          </p:cNvPr>
          <p:cNvSpPr txBox="1">
            <a:spLocks/>
          </p:cNvSpPr>
          <p:nvPr/>
        </p:nvSpPr>
        <p:spPr>
          <a:xfrm>
            <a:off x="577044" y="302827"/>
            <a:ext cx="9204576" cy="4431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00328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x-none" dirty="0"/>
              <a:t>iSource</a:t>
            </a:r>
            <a:r>
              <a:rPr lang="zh-CN" altLang="en-US" dirty="0"/>
              <a:t> </a:t>
            </a:r>
            <a:r>
              <a:rPr lang="en-US" altLang="zh-CN" dirty="0"/>
              <a:t>Deployment Scenario- Single Node </a:t>
            </a:r>
            <a:endParaRPr lang="x-none" dirty="0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="" xmlns:a16="http://schemas.microsoft.com/office/drawing/2014/main" id="{C95AC47A-7323-AA45-8D93-FFCB52319013}"/>
              </a:ext>
            </a:extLst>
          </p:cNvPr>
          <p:cNvSpPr/>
          <p:nvPr/>
        </p:nvSpPr>
        <p:spPr>
          <a:xfrm>
            <a:off x="9531454" y="1867831"/>
            <a:ext cx="2496620" cy="608220"/>
          </a:xfrm>
          <a:prstGeom prst="round2SameRect">
            <a:avLst/>
          </a:prstGeom>
          <a:solidFill>
            <a:srgbClr val="003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dirty="0"/>
              <a:t>Single Node Deploym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448D76CE-845A-2B44-94DA-FD97482BC45F}"/>
              </a:ext>
            </a:extLst>
          </p:cNvPr>
          <p:cNvSpPr txBox="1"/>
          <p:nvPr/>
        </p:nvSpPr>
        <p:spPr>
          <a:xfrm>
            <a:off x="9562690" y="2728083"/>
            <a:ext cx="236911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dirty="0" smtClean="0"/>
              <a:t>BDS </a:t>
            </a:r>
            <a:r>
              <a:rPr lang="x-none" dirty="0"/>
              <a:t>as a network sensor in TAP mod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dirty="0"/>
              <a:t>iSource deployment has litt</a:t>
            </a:r>
            <a:r>
              <a:rPr lang="en-US" dirty="0"/>
              <a:t>le</a:t>
            </a:r>
            <a:r>
              <a:rPr lang="x-none" dirty="0"/>
              <a:t> impact </a:t>
            </a:r>
            <a:r>
              <a:rPr lang="en-US" dirty="0"/>
              <a:t>on</a:t>
            </a:r>
            <a:r>
              <a:rPr lang="x-none" dirty="0"/>
              <a:t> the ex</a:t>
            </a:r>
            <a:r>
              <a:rPr lang="en-US" dirty="0" err="1"/>
              <a:t>i</a:t>
            </a:r>
            <a:r>
              <a:rPr lang="x-none" dirty="0"/>
              <a:t>sting network environmen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dirty="0"/>
              <a:t>Economic solution</a:t>
            </a:r>
          </a:p>
        </p:txBody>
      </p:sp>
    </p:spTree>
    <p:extLst>
      <p:ext uri="{BB962C8B-B14F-4D97-AF65-F5344CB8AC3E}">
        <p14:creationId xmlns:p14="http://schemas.microsoft.com/office/powerpoint/2010/main" val="4237048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DFA098B8-C5E6-E144-82AF-5A11F032F44A}"/>
              </a:ext>
            </a:extLst>
          </p:cNvPr>
          <p:cNvSpPr/>
          <p:nvPr/>
        </p:nvSpPr>
        <p:spPr>
          <a:xfrm>
            <a:off x="9541866" y="2283302"/>
            <a:ext cx="2462108" cy="42535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" name="AutoShape 446"/>
          <p:cNvSpPr>
            <a:spLocks noChangeArrowheads="1"/>
          </p:cNvSpPr>
          <p:nvPr/>
        </p:nvSpPr>
        <p:spPr bwMode="auto">
          <a:xfrm>
            <a:off x="31495" y="1687453"/>
            <a:ext cx="9370400" cy="5056489"/>
          </a:xfrm>
          <a:prstGeom prst="roundRect">
            <a:avLst>
              <a:gd name="adj" fmla="val 8361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00">
              <a:latin typeface="思源黑体 CN Regular" pitchFamily="34" charset="-122"/>
              <a:ea typeface="思源黑体 CN Regular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2766889" y="742886"/>
            <a:ext cx="1445901" cy="894371"/>
            <a:chOff x="2195748" y="1147506"/>
            <a:chExt cx="1445901" cy="894371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5748" y="1147506"/>
              <a:ext cx="1445901" cy="894371"/>
            </a:xfrm>
            <a:prstGeom prst="rect">
              <a:avLst/>
            </a:prstGeom>
          </p:spPr>
        </p:pic>
        <p:sp>
          <p:nvSpPr>
            <p:cNvPr id="6" name="矩形 5">
              <a:extLst>
                <a:ext uri="{FF2B5EF4-FFF2-40B4-BE49-F238E27FC236}">
                  <a16:creationId xmlns="" xmlns:a16="http://schemas.microsoft.com/office/drawing/2014/main" id="{21D99E60-EEDD-D04F-B732-ED2A823E712B}"/>
                </a:ext>
              </a:extLst>
            </p:cNvPr>
            <p:cNvSpPr/>
            <p:nvPr/>
          </p:nvSpPr>
          <p:spPr>
            <a:xfrm>
              <a:off x="2492064" y="1479970"/>
              <a:ext cx="85324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思源黑体 CN Regular" panose="020B0500000000000000" pitchFamily="34" charset="-122"/>
                  <a:ea typeface="思源黑体 CN Regular" panose="020B0500000000000000" pitchFamily="34" charset="-122"/>
                </a:rPr>
                <a:t>Internet</a:t>
              </a:r>
              <a:endParaRPr lang="zh-CN" altLang="en-US" sz="1400" dirty="0">
                <a:solidFill>
                  <a:schemeClr val="bg1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endParaRPr>
            </a:p>
          </p:txBody>
        </p:sp>
      </p:grpSp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F8006053-5575-3A42-8C63-516656B8B8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4151" y="2976407"/>
            <a:ext cx="567222" cy="572894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="" xmlns:a16="http://schemas.microsoft.com/office/drawing/2014/main" id="{F8006053-5575-3A42-8C63-516656B8B8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6246" y="3844031"/>
            <a:ext cx="567222" cy="572894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="" xmlns:a16="http://schemas.microsoft.com/office/drawing/2014/main" id="{2A1BCAC0-B6C7-0A40-BA10-275F36D9D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71352" y="5322550"/>
            <a:ext cx="540195" cy="417677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="" xmlns:a16="http://schemas.microsoft.com/office/drawing/2014/main" id="{2A1BCAC0-B6C7-0A40-BA10-275F36D9D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1265" y="5322549"/>
            <a:ext cx="540195" cy="417677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="" xmlns:a16="http://schemas.microsoft.com/office/drawing/2014/main" id="{2A1BCAC0-B6C7-0A40-BA10-275F36D9D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11178" y="5332819"/>
            <a:ext cx="540195" cy="417677"/>
          </a:xfrm>
          <a:prstGeom prst="rect">
            <a:avLst/>
          </a:prstGeom>
        </p:spPr>
      </p:pic>
      <p:sp>
        <p:nvSpPr>
          <p:cNvPr id="19" name="椭圆 18"/>
          <p:cNvSpPr/>
          <p:nvPr/>
        </p:nvSpPr>
        <p:spPr>
          <a:xfrm>
            <a:off x="1684406" y="4930622"/>
            <a:ext cx="2322399" cy="1314072"/>
          </a:xfrm>
          <a:prstGeom prst="ellipse">
            <a:avLst/>
          </a:prstGeom>
          <a:noFill/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2" name="图片 21">
            <a:extLst>
              <a:ext uri="{FF2B5EF4-FFF2-40B4-BE49-F238E27FC236}">
                <a16:creationId xmlns="" xmlns:a16="http://schemas.microsoft.com/office/drawing/2014/main" id="{5F1989E7-1010-174D-B4D7-15652A87128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553" y="5258519"/>
            <a:ext cx="565900" cy="466035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="" xmlns:a16="http://schemas.microsoft.com/office/drawing/2014/main" id="{5F1989E7-1010-174D-B4D7-15652A87128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3920" y="5258518"/>
            <a:ext cx="565900" cy="466035"/>
          </a:xfrm>
          <a:prstGeom prst="rect">
            <a:avLst/>
          </a:prstGeom>
        </p:spPr>
      </p:pic>
      <p:sp>
        <p:nvSpPr>
          <p:cNvPr id="24" name="椭圆 23"/>
          <p:cNvSpPr/>
          <p:nvPr/>
        </p:nvSpPr>
        <p:spPr>
          <a:xfrm>
            <a:off x="4259146" y="4920915"/>
            <a:ext cx="2322399" cy="1314072"/>
          </a:xfrm>
          <a:prstGeom prst="ellipse">
            <a:avLst/>
          </a:prstGeom>
          <a:noFill/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文本框 24"/>
          <p:cNvSpPr txBox="1"/>
          <p:nvPr/>
        </p:nvSpPr>
        <p:spPr>
          <a:xfrm>
            <a:off x="2444078" y="5948471"/>
            <a:ext cx="9048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/>
              <a:t>Servers</a:t>
            </a:r>
            <a:endParaRPr lang="zh-CN" altLang="en-US" sz="1400" b="1" dirty="0"/>
          </a:p>
        </p:txBody>
      </p:sp>
      <p:sp>
        <p:nvSpPr>
          <p:cNvPr id="26" name="文本框 25"/>
          <p:cNvSpPr txBox="1"/>
          <p:nvPr/>
        </p:nvSpPr>
        <p:spPr>
          <a:xfrm>
            <a:off x="3204302" y="5684683"/>
            <a:ext cx="599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Linux</a:t>
            </a:r>
            <a:endParaRPr lang="zh-CN" altLang="en-US" sz="1200" dirty="0"/>
          </a:p>
        </p:txBody>
      </p:sp>
      <p:sp>
        <p:nvSpPr>
          <p:cNvPr id="27" name="文本框 26"/>
          <p:cNvSpPr txBox="1"/>
          <p:nvPr/>
        </p:nvSpPr>
        <p:spPr>
          <a:xfrm>
            <a:off x="5572026" y="5676846"/>
            <a:ext cx="599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Linux</a:t>
            </a:r>
            <a:endParaRPr lang="zh-CN" altLang="en-US" sz="1200" dirty="0"/>
          </a:p>
        </p:txBody>
      </p:sp>
      <p:sp>
        <p:nvSpPr>
          <p:cNvPr id="28" name="文本框 27"/>
          <p:cNvSpPr txBox="1"/>
          <p:nvPr/>
        </p:nvSpPr>
        <p:spPr>
          <a:xfrm>
            <a:off x="4639422" y="5684388"/>
            <a:ext cx="10096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Windows</a:t>
            </a:r>
            <a:endParaRPr lang="zh-CN" altLang="en-US" sz="1200" dirty="0"/>
          </a:p>
        </p:txBody>
      </p:sp>
      <p:sp>
        <p:nvSpPr>
          <p:cNvPr id="29" name="文本框 28"/>
          <p:cNvSpPr txBox="1"/>
          <p:nvPr/>
        </p:nvSpPr>
        <p:spPr>
          <a:xfrm>
            <a:off x="5010007" y="5936917"/>
            <a:ext cx="9048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/>
              <a:t>Terminals</a:t>
            </a:r>
            <a:endParaRPr lang="zh-CN" altLang="en-US" sz="1400" b="1" dirty="0"/>
          </a:p>
        </p:txBody>
      </p:sp>
      <p:cxnSp>
        <p:nvCxnSpPr>
          <p:cNvPr id="30" name="直接连接符 29"/>
          <p:cNvCxnSpPr>
            <a:cxnSpLocks/>
          </p:cNvCxnSpPr>
          <p:nvPr/>
        </p:nvCxnSpPr>
        <p:spPr>
          <a:xfrm flipV="1">
            <a:off x="3430407" y="1592520"/>
            <a:ext cx="0" cy="322630"/>
          </a:xfrm>
          <a:prstGeom prst="line">
            <a:avLst/>
          </a:prstGeom>
          <a:ln w="19050"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>
            <a:stCxn id="8" idx="0"/>
          </p:cNvCxnSpPr>
          <p:nvPr/>
        </p:nvCxnSpPr>
        <p:spPr>
          <a:xfrm flipH="1" flipV="1">
            <a:off x="3466619" y="2479759"/>
            <a:ext cx="1143" cy="496648"/>
          </a:xfrm>
          <a:prstGeom prst="line">
            <a:avLst/>
          </a:prstGeom>
          <a:ln w="19050"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84" y="3062486"/>
            <a:ext cx="1204014" cy="343383"/>
          </a:xfrm>
          <a:prstGeom prst="rect">
            <a:avLst/>
          </a:prstGeom>
        </p:spPr>
      </p:pic>
      <p:cxnSp>
        <p:nvCxnSpPr>
          <p:cNvPr id="43" name="直接连接符 42"/>
          <p:cNvCxnSpPr>
            <a:cxnSpLocks/>
          </p:cNvCxnSpPr>
          <p:nvPr/>
        </p:nvCxnSpPr>
        <p:spPr>
          <a:xfrm>
            <a:off x="1224491" y="3367003"/>
            <a:ext cx="1958517" cy="2632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/>
          <p:cNvSpPr txBox="1"/>
          <p:nvPr/>
        </p:nvSpPr>
        <p:spPr>
          <a:xfrm>
            <a:off x="1280253" y="3017884"/>
            <a:ext cx="1484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GT: 10.180.0.3</a:t>
            </a:r>
            <a:endParaRPr lang="zh-CN" altLang="en-US" sz="1200" dirty="0"/>
          </a:p>
        </p:txBody>
      </p:sp>
      <p:sp>
        <p:nvSpPr>
          <p:cNvPr id="46" name="文本框 45"/>
          <p:cNvSpPr txBox="1"/>
          <p:nvPr/>
        </p:nvSpPr>
        <p:spPr>
          <a:xfrm>
            <a:off x="1300041" y="3334626"/>
            <a:ext cx="1484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eth0/2</a:t>
            </a:r>
            <a:endParaRPr lang="zh-CN" altLang="en-US" sz="1200" dirty="0"/>
          </a:p>
        </p:txBody>
      </p:sp>
      <p:cxnSp>
        <p:nvCxnSpPr>
          <p:cNvPr id="48" name="直接连接符 47"/>
          <p:cNvCxnSpPr>
            <a:stCxn id="8" idx="3"/>
          </p:cNvCxnSpPr>
          <p:nvPr/>
        </p:nvCxnSpPr>
        <p:spPr>
          <a:xfrm>
            <a:off x="3751373" y="3262854"/>
            <a:ext cx="1166301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/>
          <p:cNvCxnSpPr>
            <a:cxnSpLocks/>
          </p:cNvCxnSpPr>
          <p:nvPr/>
        </p:nvCxnSpPr>
        <p:spPr>
          <a:xfrm flipV="1">
            <a:off x="1134921" y="4121425"/>
            <a:ext cx="1482008" cy="74242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>
            <a:cxnSpLocks/>
          </p:cNvCxnSpPr>
          <p:nvPr/>
        </p:nvCxnSpPr>
        <p:spPr>
          <a:xfrm flipV="1">
            <a:off x="1174646" y="4234404"/>
            <a:ext cx="1482008" cy="74242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95" y="4684475"/>
            <a:ext cx="1204014" cy="343383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="" xmlns:a16="http://schemas.microsoft.com/office/drawing/2014/main" id="{F8006053-5575-3A42-8C63-516656B8B8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6929" y="3844031"/>
            <a:ext cx="567222" cy="572894"/>
          </a:xfrm>
          <a:prstGeom prst="rect">
            <a:avLst/>
          </a:prstGeom>
        </p:spPr>
      </p:pic>
      <p:sp>
        <p:nvSpPr>
          <p:cNvPr id="58" name="文本框 57"/>
          <p:cNvSpPr txBox="1"/>
          <p:nvPr/>
        </p:nvSpPr>
        <p:spPr>
          <a:xfrm rot="19994222">
            <a:off x="1038435" y="4270430"/>
            <a:ext cx="1484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GT: 10.180.0.7</a:t>
            </a:r>
            <a:endParaRPr lang="zh-CN" altLang="en-US" sz="1200" dirty="0"/>
          </a:p>
        </p:txBody>
      </p:sp>
      <p:sp>
        <p:nvSpPr>
          <p:cNvPr id="59" name="文本框 58"/>
          <p:cNvSpPr txBox="1"/>
          <p:nvPr/>
        </p:nvSpPr>
        <p:spPr>
          <a:xfrm rot="19991052">
            <a:off x="1221880" y="4563154"/>
            <a:ext cx="1484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eth0/2</a:t>
            </a:r>
            <a:endParaRPr lang="zh-CN" altLang="en-US" sz="1200" dirty="0"/>
          </a:p>
        </p:txBody>
      </p:sp>
      <p:cxnSp>
        <p:nvCxnSpPr>
          <p:cNvPr id="61" name="直接连接符 60"/>
          <p:cNvCxnSpPr>
            <a:stCxn id="12" idx="2"/>
            <a:endCxn id="16" idx="0"/>
          </p:cNvCxnSpPr>
          <p:nvPr/>
        </p:nvCxnSpPr>
        <p:spPr>
          <a:xfrm flipH="1">
            <a:off x="2241450" y="4416925"/>
            <a:ext cx="659090" cy="90562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/>
          <p:cNvCxnSpPr>
            <a:endCxn id="17" idx="0"/>
          </p:cNvCxnSpPr>
          <p:nvPr/>
        </p:nvCxnSpPr>
        <p:spPr>
          <a:xfrm flipH="1">
            <a:off x="2861363" y="4405371"/>
            <a:ext cx="39176" cy="91717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>
            <a:endCxn id="18" idx="0"/>
          </p:cNvCxnSpPr>
          <p:nvPr/>
        </p:nvCxnSpPr>
        <p:spPr>
          <a:xfrm>
            <a:off x="2907296" y="4416819"/>
            <a:ext cx="573980" cy="91600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/>
          <p:cNvCxnSpPr>
            <a:endCxn id="22" idx="0"/>
          </p:cNvCxnSpPr>
          <p:nvPr/>
        </p:nvCxnSpPr>
        <p:spPr>
          <a:xfrm flipH="1">
            <a:off x="5009503" y="4400650"/>
            <a:ext cx="422611" cy="85786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70"/>
          <p:cNvCxnSpPr>
            <a:endCxn id="23" idx="0"/>
          </p:cNvCxnSpPr>
          <p:nvPr/>
        </p:nvCxnSpPr>
        <p:spPr>
          <a:xfrm>
            <a:off x="5438870" y="4400544"/>
            <a:ext cx="398000" cy="857974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文本框 73"/>
          <p:cNvSpPr txBox="1"/>
          <p:nvPr/>
        </p:nvSpPr>
        <p:spPr>
          <a:xfrm>
            <a:off x="3671685" y="2263401"/>
            <a:ext cx="17907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Gateway: 10.180.0.1</a:t>
            </a:r>
            <a:endParaRPr lang="zh-CN" altLang="en-US" sz="1200" dirty="0"/>
          </a:p>
        </p:txBody>
      </p:sp>
      <p:sp>
        <p:nvSpPr>
          <p:cNvPr id="88" name="文本框 87"/>
          <p:cNvSpPr txBox="1"/>
          <p:nvPr/>
        </p:nvSpPr>
        <p:spPr>
          <a:xfrm rot="437146">
            <a:off x="5151079" y="1894699"/>
            <a:ext cx="1473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accent1">
                    <a:lumMod val="75000"/>
                  </a:schemeClr>
                </a:solidFill>
              </a:rPr>
              <a:t>Syslog/ </a:t>
            </a:r>
            <a:r>
              <a:rPr lang="en-US" altLang="zh-CN" sz="1200" dirty="0" err="1">
                <a:solidFill>
                  <a:schemeClr val="accent1">
                    <a:lumMod val="75000"/>
                  </a:schemeClr>
                </a:solidFill>
              </a:rPr>
              <a:t>NetFlow</a:t>
            </a:r>
            <a:endParaRPr lang="zh-CN" altLang="en-US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0" name="文本框 89"/>
          <p:cNvSpPr txBox="1"/>
          <p:nvPr/>
        </p:nvSpPr>
        <p:spPr>
          <a:xfrm rot="21193291">
            <a:off x="1688994" y="2340032"/>
            <a:ext cx="1790746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70C0"/>
                </a:solidFill>
              </a:rPr>
              <a:t>Meta data/ </a:t>
            </a:r>
            <a:r>
              <a:rPr lang="en-US" altLang="zh-CN" sz="1200" dirty="0" err="1">
                <a:solidFill>
                  <a:srgbClr val="0070C0"/>
                </a:solidFill>
              </a:rPr>
              <a:t>NetFlow</a:t>
            </a:r>
            <a:endParaRPr lang="zh-CN" altLang="en-US" sz="1200" dirty="0">
              <a:solidFill>
                <a:srgbClr val="0070C0"/>
              </a:solidFill>
            </a:endParaRPr>
          </a:p>
        </p:txBody>
      </p:sp>
      <p:sp>
        <p:nvSpPr>
          <p:cNvPr id="93" name="任意多边形 92"/>
          <p:cNvSpPr/>
          <p:nvPr/>
        </p:nvSpPr>
        <p:spPr>
          <a:xfrm>
            <a:off x="1107761" y="2648330"/>
            <a:ext cx="6391915" cy="1986153"/>
          </a:xfrm>
          <a:custGeom>
            <a:avLst/>
            <a:gdLst>
              <a:gd name="connsiteX0" fmla="*/ 0 w 4861710"/>
              <a:gd name="connsiteY0" fmla="*/ 1566250 h 1566250"/>
              <a:gd name="connsiteX1" fmla="*/ 1810693 w 4861710"/>
              <a:gd name="connsiteY1" fmla="*/ 588475 h 1566250"/>
              <a:gd name="connsiteX2" fmla="*/ 4861710 w 4861710"/>
              <a:gd name="connsiteY2" fmla="*/ 0 h 156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61710" h="1566250">
                <a:moveTo>
                  <a:pt x="0" y="1566250"/>
                </a:moveTo>
                <a:cubicBezTo>
                  <a:pt x="500204" y="1207883"/>
                  <a:pt x="1000408" y="849517"/>
                  <a:pt x="1810693" y="588475"/>
                </a:cubicBezTo>
                <a:cubicBezTo>
                  <a:pt x="2620978" y="327433"/>
                  <a:pt x="4329065" y="86008"/>
                  <a:pt x="4861710" y="0"/>
                </a:cubicBezTo>
              </a:path>
            </a:pathLst>
          </a:custGeom>
          <a:noFill/>
          <a:ln w="1905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文本框 93"/>
          <p:cNvSpPr txBox="1"/>
          <p:nvPr/>
        </p:nvSpPr>
        <p:spPr>
          <a:xfrm rot="19772784">
            <a:off x="825693" y="3867346"/>
            <a:ext cx="2176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accent1">
                    <a:lumMod val="75000"/>
                  </a:schemeClr>
                </a:solidFill>
              </a:rPr>
              <a:t>Threat information (Syslog)</a:t>
            </a:r>
            <a:endParaRPr lang="zh-CN" altLang="en-US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5" name="任意多边形 94"/>
          <p:cNvSpPr/>
          <p:nvPr/>
        </p:nvSpPr>
        <p:spPr>
          <a:xfrm>
            <a:off x="917639" y="4399094"/>
            <a:ext cx="1692998" cy="771453"/>
          </a:xfrm>
          <a:custGeom>
            <a:avLst/>
            <a:gdLst>
              <a:gd name="connsiteX0" fmla="*/ 1692998 w 1692998"/>
              <a:gd name="connsiteY0" fmla="*/ 0 h 771453"/>
              <a:gd name="connsiteX1" fmla="*/ 787651 w 1692998"/>
              <a:gd name="connsiteY1" fmla="*/ 733330 h 771453"/>
              <a:gd name="connsiteX2" fmla="*/ 0 w 1692998"/>
              <a:gd name="connsiteY2" fmla="*/ 660903 h 771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2998" h="771453">
                <a:moveTo>
                  <a:pt x="1692998" y="0"/>
                </a:moveTo>
                <a:cubicBezTo>
                  <a:pt x="1381407" y="311590"/>
                  <a:pt x="1069817" y="623180"/>
                  <a:pt x="787651" y="733330"/>
                </a:cubicBezTo>
                <a:cubicBezTo>
                  <a:pt x="505485" y="843480"/>
                  <a:pt x="116186" y="682028"/>
                  <a:pt x="0" y="660903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任意多边形 98"/>
          <p:cNvSpPr/>
          <p:nvPr/>
        </p:nvSpPr>
        <p:spPr>
          <a:xfrm>
            <a:off x="1216541" y="4428478"/>
            <a:ext cx="1451742" cy="742069"/>
          </a:xfrm>
          <a:custGeom>
            <a:avLst/>
            <a:gdLst>
              <a:gd name="connsiteX0" fmla="*/ 1665838 w 1665838"/>
              <a:gd name="connsiteY0" fmla="*/ 0 h 774679"/>
              <a:gd name="connsiteX1" fmla="*/ 814812 w 1665838"/>
              <a:gd name="connsiteY1" fmla="*/ 751438 h 774679"/>
              <a:gd name="connsiteX2" fmla="*/ 0 w 1665838"/>
              <a:gd name="connsiteY2" fmla="*/ 588476 h 774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5838" h="774679">
                <a:moveTo>
                  <a:pt x="1665838" y="0"/>
                </a:moveTo>
                <a:cubicBezTo>
                  <a:pt x="1379145" y="326679"/>
                  <a:pt x="1092452" y="653359"/>
                  <a:pt x="814812" y="751438"/>
                </a:cubicBezTo>
                <a:cubicBezTo>
                  <a:pt x="537172" y="849517"/>
                  <a:pt x="138820" y="606583"/>
                  <a:pt x="0" y="588476"/>
                </a:cubicBezTo>
              </a:path>
            </a:pathLst>
          </a:custGeom>
          <a:noFill/>
          <a:ln w="19050">
            <a:solidFill>
              <a:srgbClr val="FF000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文本框 99"/>
          <p:cNvSpPr txBox="1"/>
          <p:nvPr/>
        </p:nvSpPr>
        <p:spPr>
          <a:xfrm rot="20865710">
            <a:off x="1568464" y="4878694"/>
            <a:ext cx="7470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FF0000"/>
                </a:solidFill>
              </a:rPr>
              <a:t>mirror</a:t>
            </a:r>
            <a:endParaRPr lang="zh-CN" altLang="en-US" sz="1200" dirty="0">
              <a:solidFill>
                <a:srgbClr val="FF0000"/>
              </a:solidFill>
            </a:endParaRPr>
          </a:p>
        </p:txBody>
      </p:sp>
      <p:sp>
        <p:nvSpPr>
          <p:cNvPr id="101" name="任意多边形 100"/>
          <p:cNvSpPr/>
          <p:nvPr/>
        </p:nvSpPr>
        <p:spPr>
          <a:xfrm>
            <a:off x="2882241" y="2802846"/>
            <a:ext cx="4633186" cy="2519702"/>
          </a:xfrm>
          <a:custGeom>
            <a:avLst/>
            <a:gdLst>
              <a:gd name="connsiteX0" fmla="*/ 0 w 3032911"/>
              <a:gd name="connsiteY0" fmla="*/ 1982709 h 1982709"/>
              <a:gd name="connsiteX1" fmla="*/ 1330859 w 3032911"/>
              <a:gd name="connsiteY1" fmla="*/ 679010 h 1982709"/>
              <a:gd name="connsiteX2" fmla="*/ 3032911 w 3032911"/>
              <a:gd name="connsiteY2" fmla="*/ 0 h 1982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2911" h="1982709">
                <a:moveTo>
                  <a:pt x="0" y="1982709"/>
                </a:moveTo>
                <a:cubicBezTo>
                  <a:pt x="412687" y="1496085"/>
                  <a:pt x="825374" y="1009461"/>
                  <a:pt x="1330859" y="679010"/>
                </a:cubicBezTo>
                <a:cubicBezTo>
                  <a:pt x="1836344" y="348559"/>
                  <a:pt x="2434627" y="174279"/>
                  <a:pt x="3032911" y="0"/>
                </a:cubicBezTo>
              </a:path>
            </a:pathLst>
          </a:custGeom>
          <a:noFill/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文本框 101"/>
          <p:cNvSpPr txBox="1"/>
          <p:nvPr/>
        </p:nvSpPr>
        <p:spPr>
          <a:xfrm rot="19497111">
            <a:off x="3859919" y="3526390"/>
            <a:ext cx="1484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>
                <a:solidFill>
                  <a:srgbClr val="00B050"/>
                </a:solidFill>
              </a:rPr>
              <a:t>Sysmon</a:t>
            </a:r>
            <a:endParaRPr lang="zh-CN" altLang="en-US" sz="1200" dirty="0">
              <a:solidFill>
                <a:srgbClr val="00B050"/>
              </a:solidFill>
            </a:endParaRPr>
          </a:p>
        </p:txBody>
      </p:sp>
      <p:sp>
        <p:nvSpPr>
          <p:cNvPr id="103" name="任意多边形 102"/>
          <p:cNvSpPr/>
          <p:nvPr/>
        </p:nvSpPr>
        <p:spPr>
          <a:xfrm>
            <a:off x="3506930" y="2871140"/>
            <a:ext cx="4008497" cy="2478568"/>
          </a:xfrm>
          <a:custGeom>
            <a:avLst/>
            <a:gdLst>
              <a:gd name="connsiteX0" fmla="*/ 0 w 2417275"/>
              <a:gd name="connsiteY0" fmla="*/ 1946495 h 1946495"/>
              <a:gd name="connsiteX1" fmla="*/ 1023042 w 2417275"/>
              <a:gd name="connsiteY1" fmla="*/ 796705 h 1946495"/>
              <a:gd name="connsiteX2" fmla="*/ 2417275 w 2417275"/>
              <a:gd name="connsiteY2" fmla="*/ 0 h 1946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17275" h="1946495">
                <a:moveTo>
                  <a:pt x="0" y="1946495"/>
                </a:moveTo>
                <a:cubicBezTo>
                  <a:pt x="310081" y="1533808"/>
                  <a:pt x="620163" y="1121121"/>
                  <a:pt x="1023042" y="796705"/>
                </a:cubicBezTo>
                <a:cubicBezTo>
                  <a:pt x="1425921" y="472289"/>
                  <a:pt x="2186412" y="131275"/>
                  <a:pt x="2417275" y="0"/>
                </a:cubicBezTo>
              </a:path>
            </a:pathLst>
          </a:custGeom>
          <a:noFill/>
          <a:ln w="19050">
            <a:solidFill>
              <a:srgbClr val="7030A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文本框 103"/>
          <p:cNvSpPr txBox="1"/>
          <p:nvPr/>
        </p:nvSpPr>
        <p:spPr>
          <a:xfrm rot="19497111">
            <a:off x="4485364" y="3570486"/>
            <a:ext cx="1484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7030A0"/>
                </a:solidFill>
              </a:rPr>
              <a:t>Linux</a:t>
            </a:r>
            <a:endParaRPr lang="zh-CN" altLang="en-US" sz="1200" dirty="0">
              <a:solidFill>
                <a:srgbClr val="7030A0"/>
              </a:solidFill>
            </a:endParaRPr>
          </a:p>
        </p:txBody>
      </p:sp>
      <p:sp>
        <p:nvSpPr>
          <p:cNvPr id="106" name="文本框 105"/>
          <p:cNvSpPr txBox="1"/>
          <p:nvPr/>
        </p:nvSpPr>
        <p:spPr>
          <a:xfrm rot="19185781">
            <a:off x="5685501" y="3813775"/>
            <a:ext cx="1484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>
                <a:solidFill>
                  <a:srgbClr val="00B050"/>
                </a:solidFill>
              </a:rPr>
              <a:t>Sysmon</a:t>
            </a:r>
            <a:endParaRPr lang="zh-CN" altLang="en-US" sz="1200" dirty="0">
              <a:solidFill>
                <a:srgbClr val="00B050"/>
              </a:solidFill>
            </a:endParaRPr>
          </a:p>
        </p:txBody>
      </p:sp>
      <p:sp>
        <p:nvSpPr>
          <p:cNvPr id="108" name="文本框 107"/>
          <p:cNvSpPr txBox="1"/>
          <p:nvPr/>
        </p:nvSpPr>
        <p:spPr>
          <a:xfrm rot="18555675">
            <a:off x="6124100" y="3849304"/>
            <a:ext cx="1583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7030A0"/>
                </a:solidFill>
              </a:rPr>
              <a:t>Linux</a:t>
            </a:r>
            <a:endParaRPr lang="zh-CN" altLang="en-US" sz="1200" dirty="0">
              <a:solidFill>
                <a:srgbClr val="7030A0"/>
              </a:solidFill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3886097" y="6330515"/>
            <a:ext cx="2129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Internal Network</a:t>
            </a:r>
            <a:endParaRPr lang="zh-CN" altLang="en-US" b="1" dirty="0"/>
          </a:p>
        </p:txBody>
      </p:sp>
      <p:pic>
        <p:nvPicPr>
          <p:cNvPr id="66" name="图片 65">
            <a:extLst>
              <a:ext uri="{FF2B5EF4-FFF2-40B4-BE49-F238E27FC236}">
                <a16:creationId xmlns="" xmlns:a16="http://schemas.microsoft.com/office/drawing/2014/main" id="{F8006053-5575-3A42-8C63-516656B8B8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9098" y="2974104"/>
            <a:ext cx="567222" cy="572894"/>
          </a:xfrm>
          <a:prstGeom prst="rect">
            <a:avLst/>
          </a:prstGeom>
        </p:spPr>
      </p:pic>
      <p:cxnSp>
        <p:nvCxnSpPr>
          <p:cNvPr id="67" name="直接连接符 66"/>
          <p:cNvCxnSpPr>
            <a:endCxn id="68" idx="1"/>
          </p:cNvCxnSpPr>
          <p:nvPr/>
        </p:nvCxnSpPr>
        <p:spPr>
          <a:xfrm flipV="1">
            <a:off x="5415244" y="2692329"/>
            <a:ext cx="2100183" cy="55310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图片 6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5427" y="2407356"/>
            <a:ext cx="722714" cy="569945"/>
          </a:xfrm>
          <a:prstGeom prst="rect">
            <a:avLst/>
          </a:prstGeom>
        </p:spPr>
      </p:pic>
      <p:pic>
        <p:nvPicPr>
          <p:cNvPr id="73" name="图片 7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7552" y="3054865"/>
            <a:ext cx="722714" cy="569945"/>
          </a:xfrm>
          <a:prstGeom prst="rect">
            <a:avLst/>
          </a:prstGeom>
        </p:spPr>
      </p:pic>
      <p:pic>
        <p:nvPicPr>
          <p:cNvPr id="75" name="图片 7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7552" y="3728413"/>
            <a:ext cx="722714" cy="569945"/>
          </a:xfrm>
          <a:prstGeom prst="rect">
            <a:avLst/>
          </a:prstGeom>
        </p:spPr>
      </p:pic>
      <p:pic>
        <p:nvPicPr>
          <p:cNvPr id="76" name="图片 7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471" y="4371389"/>
            <a:ext cx="722714" cy="569945"/>
          </a:xfrm>
          <a:prstGeom prst="rect">
            <a:avLst/>
          </a:prstGeom>
        </p:spPr>
      </p:pic>
      <p:cxnSp>
        <p:nvCxnSpPr>
          <p:cNvPr id="77" name="直接连接符 76"/>
          <p:cNvCxnSpPr>
            <a:endCxn id="73" idx="1"/>
          </p:cNvCxnSpPr>
          <p:nvPr/>
        </p:nvCxnSpPr>
        <p:spPr>
          <a:xfrm>
            <a:off x="5413331" y="3245199"/>
            <a:ext cx="2094221" cy="9463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连接符 77"/>
          <p:cNvCxnSpPr>
            <a:endCxn id="75" idx="1"/>
          </p:cNvCxnSpPr>
          <p:nvPr/>
        </p:nvCxnSpPr>
        <p:spPr>
          <a:xfrm>
            <a:off x="5438870" y="3261719"/>
            <a:ext cx="2068682" cy="75166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/>
          <p:cNvCxnSpPr>
            <a:endCxn id="76" idx="1"/>
          </p:cNvCxnSpPr>
          <p:nvPr/>
        </p:nvCxnSpPr>
        <p:spPr>
          <a:xfrm>
            <a:off x="5446320" y="3270061"/>
            <a:ext cx="2067151" cy="138630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任意多边形 33"/>
          <p:cNvSpPr/>
          <p:nvPr/>
        </p:nvSpPr>
        <p:spPr>
          <a:xfrm>
            <a:off x="3715157" y="2086561"/>
            <a:ext cx="3800270" cy="511776"/>
          </a:xfrm>
          <a:custGeom>
            <a:avLst/>
            <a:gdLst>
              <a:gd name="connsiteX0" fmla="*/ 0 w 3793402"/>
              <a:gd name="connsiteY0" fmla="*/ 103487 h 456572"/>
              <a:gd name="connsiteX1" fmla="*/ 1892175 w 3793402"/>
              <a:gd name="connsiteY1" fmla="*/ 22006 h 456572"/>
              <a:gd name="connsiteX2" fmla="*/ 3793402 w 3793402"/>
              <a:gd name="connsiteY2" fmla="*/ 456572 h 45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93402" h="456572">
                <a:moveTo>
                  <a:pt x="0" y="103487"/>
                </a:moveTo>
                <a:cubicBezTo>
                  <a:pt x="629970" y="33323"/>
                  <a:pt x="1259941" y="-36841"/>
                  <a:pt x="1892175" y="22006"/>
                </a:cubicBezTo>
                <a:cubicBezTo>
                  <a:pt x="2524409" y="80853"/>
                  <a:pt x="3476531" y="399234"/>
                  <a:pt x="3793402" y="456572"/>
                </a:cubicBezTo>
              </a:path>
            </a:pathLst>
          </a:custGeom>
          <a:noFill/>
          <a:ln w="1905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任意多边形 35"/>
          <p:cNvSpPr/>
          <p:nvPr/>
        </p:nvSpPr>
        <p:spPr>
          <a:xfrm>
            <a:off x="5824615" y="2905272"/>
            <a:ext cx="1674891" cy="2362954"/>
          </a:xfrm>
          <a:custGeom>
            <a:avLst/>
            <a:gdLst>
              <a:gd name="connsiteX0" fmla="*/ 0 w 1674891"/>
              <a:gd name="connsiteY0" fmla="*/ 2362954 h 2362954"/>
              <a:gd name="connsiteX1" fmla="*/ 932507 w 1674891"/>
              <a:gd name="connsiteY1" fmla="*/ 1484768 h 2362954"/>
              <a:gd name="connsiteX2" fmla="*/ 1674891 w 1674891"/>
              <a:gd name="connsiteY2" fmla="*/ 0 h 2362954"/>
              <a:gd name="connsiteX3" fmla="*/ 1674891 w 1674891"/>
              <a:gd name="connsiteY3" fmla="*/ 0 h 236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4891" h="2362954">
                <a:moveTo>
                  <a:pt x="0" y="2362954"/>
                </a:moveTo>
                <a:cubicBezTo>
                  <a:pt x="326679" y="2120774"/>
                  <a:pt x="653359" y="1878594"/>
                  <a:pt x="932507" y="1484768"/>
                </a:cubicBezTo>
                <a:cubicBezTo>
                  <a:pt x="1211655" y="1090942"/>
                  <a:pt x="1674891" y="0"/>
                  <a:pt x="1674891" y="0"/>
                </a:cubicBezTo>
                <a:lnTo>
                  <a:pt x="1674891" y="0"/>
                </a:lnTo>
              </a:path>
            </a:pathLst>
          </a:custGeom>
          <a:noFill/>
          <a:ln w="19050">
            <a:solidFill>
              <a:srgbClr val="7030A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任意多边形 36"/>
          <p:cNvSpPr/>
          <p:nvPr/>
        </p:nvSpPr>
        <p:spPr>
          <a:xfrm>
            <a:off x="5041399" y="2933017"/>
            <a:ext cx="2385063" cy="2298341"/>
          </a:xfrm>
          <a:custGeom>
            <a:avLst/>
            <a:gdLst>
              <a:gd name="connsiteX0" fmla="*/ 0 w 2453489"/>
              <a:gd name="connsiteY0" fmla="*/ 2381061 h 2381061"/>
              <a:gd name="connsiteX1" fmla="*/ 1394234 w 2453489"/>
              <a:gd name="connsiteY1" fmla="*/ 1240325 h 2381061"/>
              <a:gd name="connsiteX2" fmla="*/ 2453489 w 2453489"/>
              <a:gd name="connsiteY2" fmla="*/ 0 h 2381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53489" h="2381061">
                <a:moveTo>
                  <a:pt x="0" y="2381061"/>
                </a:moveTo>
                <a:cubicBezTo>
                  <a:pt x="492659" y="2009114"/>
                  <a:pt x="985319" y="1637168"/>
                  <a:pt x="1394234" y="1240325"/>
                </a:cubicBezTo>
                <a:cubicBezTo>
                  <a:pt x="1803149" y="843481"/>
                  <a:pt x="2319196" y="223319"/>
                  <a:pt x="2453489" y="0"/>
                </a:cubicBezTo>
              </a:path>
            </a:pathLst>
          </a:custGeom>
          <a:noFill/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文本框 37"/>
          <p:cNvSpPr txBox="1"/>
          <p:nvPr/>
        </p:nvSpPr>
        <p:spPr>
          <a:xfrm>
            <a:off x="7587328" y="2165253"/>
            <a:ext cx="18049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Virtual IP: 10.180.0.10 </a:t>
            </a:r>
            <a:endParaRPr lang="zh-CN" altLang="en-US" sz="1200" dirty="0"/>
          </a:p>
        </p:txBody>
      </p:sp>
      <p:sp>
        <p:nvSpPr>
          <p:cNvPr id="86" name="文本框 85"/>
          <p:cNvSpPr txBox="1"/>
          <p:nvPr/>
        </p:nvSpPr>
        <p:spPr>
          <a:xfrm>
            <a:off x="8185870" y="2451918"/>
            <a:ext cx="11186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HA Master</a:t>
            </a:r>
            <a:endParaRPr lang="zh-CN" altLang="en-US" sz="1200" dirty="0"/>
          </a:p>
        </p:txBody>
      </p:sp>
      <p:sp>
        <p:nvSpPr>
          <p:cNvPr id="96" name="文本框 95"/>
          <p:cNvSpPr txBox="1"/>
          <p:nvPr/>
        </p:nvSpPr>
        <p:spPr>
          <a:xfrm>
            <a:off x="8093764" y="2731832"/>
            <a:ext cx="19070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eth0:10.180.0.4</a:t>
            </a:r>
            <a:endParaRPr lang="zh-CN" altLang="en-US" sz="1200" dirty="0"/>
          </a:p>
        </p:txBody>
      </p:sp>
      <p:sp>
        <p:nvSpPr>
          <p:cNvPr id="97" name="文本框 96"/>
          <p:cNvSpPr txBox="1"/>
          <p:nvPr/>
        </p:nvSpPr>
        <p:spPr>
          <a:xfrm>
            <a:off x="8185870" y="3165515"/>
            <a:ext cx="11186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aster</a:t>
            </a:r>
            <a:endParaRPr lang="zh-CN" altLang="en-US" sz="1200" dirty="0"/>
          </a:p>
        </p:txBody>
      </p:sp>
      <p:sp>
        <p:nvSpPr>
          <p:cNvPr id="98" name="文本框 97"/>
          <p:cNvSpPr txBox="1"/>
          <p:nvPr/>
        </p:nvSpPr>
        <p:spPr>
          <a:xfrm>
            <a:off x="8063906" y="3384120"/>
            <a:ext cx="19070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eth0:10.180.0.5</a:t>
            </a:r>
            <a:endParaRPr lang="zh-CN" altLang="en-US" sz="1200" dirty="0"/>
          </a:p>
        </p:txBody>
      </p:sp>
      <p:sp>
        <p:nvSpPr>
          <p:cNvPr id="110" name="文本框 109"/>
          <p:cNvSpPr txBox="1"/>
          <p:nvPr/>
        </p:nvSpPr>
        <p:spPr>
          <a:xfrm>
            <a:off x="8185870" y="3795808"/>
            <a:ext cx="11186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aster</a:t>
            </a:r>
            <a:endParaRPr lang="zh-CN" altLang="en-US" sz="1200" dirty="0"/>
          </a:p>
        </p:txBody>
      </p:sp>
      <p:sp>
        <p:nvSpPr>
          <p:cNvPr id="111" name="文本框 110"/>
          <p:cNvSpPr txBox="1"/>
          <p:nvPr/>
        </p:nvSpPr>
        <p:spPr>
          <a:xfrm>
            <a:off x="8063906" y="4014413"/>
            <a:ext cx="19070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eth0:10.180.0.6</a:t>
            </a:r>
            <a:endParaRPr lang="zh-CN" altLang="en-US" sz="1200" dirty="0"/>
          </a:p>
        </p:txBody>
      </p:sp>
      <p:sp>
        <p:nvSpPr>
          <p:cNvPr id="112" name="文本框 111"/>
          <p:cNvSpPr txBox="1"/>
          <p:nvPr/>
        </p:nvSpPr>
        <p:spPr>
          <a:xfrm>
            <a:off x="8184954" y="4467588"/>
            <a:ext cx="11186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aster</a:t>
            </a:r>
            <a:endParaRPr lang="zh-CN" altLang="en-US" sz="1200" dirty="0"/>
          </a:p>
        </p:txBody>
      </p:sp>
      <p:sp>
        <p:nvSpPr>
          <p:cNvPr id="113" name="文本框 112"/>
          <p:cNvSpPr txBox="1"/>
          <p:nvPr/>
        </p:nvSpPr>
        <p:spPr>
          <a:xfrm>
            <a:off x="8099566" y="4686193"/>
            <a:ext cx="19070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eth0:10.180.0.7</a:t>
            </a:r>
            <a:endParaRPr lang="zh-CN" altLang="en-US" sz="1200" dirty="0"/>
          </a:p>
        </p:txBody>
      </p:sp>
      <p:sp>
        <p:nvSpPr>
          <p:cNvPr id="41" name="椭圆 40"/>
          <p:cNvSpPr/>
          <p:nvPr/>
        </p:nvSpPr>
        <p:spPr>
          <a:xfrm>
            <a:off x="7303332" y="1718983"/>
            <a:ext cx="2031444" cy="4012746"/>
          </a:xfrm>
          <a:prstGeom prst="ellipse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文本框 113"/>
          <p:cNvSpPr txBox="1"/>
          <p:nvPr/>
        </p:nvSpPr>
        <p:spPr>
          <a:xfrm>
            <a:off x="7757970" y="5010657"/>
            <a:ext cx="14423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 err="1"/>
              <a:t>iSource</a:t>
            </a:r>
            <a:r>
              <a:rPr lang="en-US" altLang="zh-CN" sz="1400" b="1" dirty="0"/>
              <a:t> Cluster</a:t>
            </a:r>
            <a:endParaRPr lang="zh-CN" altLang="en-US" sz="1400" b="1" dirty="0"/>
          </a:p>
        </p:txBody>
      </p:sp>
      <p:sp>
        <p:nvSpPr>
          <p:cNvPr id="42" name="任意多边形 41"/>
          <p:cNvSpPr/>
          <p:nvPr/>
        </p:nvSpPr>
        <p:spPr>
          <a:xfrm>
            <a:off x="701040" y="2496709"/>
            <a:ext cx="6716985" cy="559700"/>
          </a:xfrm>
          <a:custGeom>
            <a:avLst/>
            <a:gdLst>
              <a:gd name="connsiteX0" fmla="*/ 0 w 6237838"/>
              <a:gd name="connsiteY0" fmla="*/ 271604 h 271604"/>
              <a:gd name="connsiteX1" fmla="*/ 2879002 w 6237838"/>
              <a:gd name="connsiteY1" fmla="*/ 0 h 271604"/>
              <a:gd name="connsiteX2" fmla="*/ 6237838 w 6237838"/>
              <a:gd name="connsiteY2" fmla="*/ 81481 h 271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37838" h="271604">
                <a:moveTo>
                  <a:pt x="0" y="271604"/>
                </a:moveTo>
                <a:cubicBezTo>
                  <a:pt x="919681" y="151645"/>
                  <a:pt x="1839362" y="31687"/>
                  <a:pt x="2879002" y="0"/>
                </a:cubicBezTo>
                <a:lnTo>
                  <a:pt x="6237838" y="81481"/>
                </a:lnTo>
              </a:path>
            </a:pathLst>
          </a:custGeom>
          <a:noFill/>
          <a:ln w="19050">
            <a:solidFill>
              <a:schemeClr val="bg2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15" name="直接连接符 114"/>
          <p:cNvCxnSpPr>
            <a:stCxn id="12" idx="0"/>
            <a:endCxn id="8" idx="2"/>
          </p:cNvCxnSpPr>
          <p:nvPr/>
        </p:nvCxnSpPr>
        <p:spPr>
          <a:xfrm flipV="1">
            <a:off x="2900540" y="3549301"/>
            <a:ext cx="567222" cy="294730"/>
          </a:xfrm>
          <a:prstGeom prst="line">
            <a:avLst/>
          </a:prstGeom>
          <a:ln w="19050"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接连接符 115"/>
          <p:cNvCxnSpPr>
            <a:stCxn id="103" idx="1"/>
            <a:endCxn id="8" idx="2"/>
          </p:cNvCxnSpPr>
          <p:nvPr/>
        </p:nvCxnSpPr>
        <p:spPr>
          <a:xfrm flipH="1" flipV="1">
            <a:off x="3467762" y="3549301"/>
            <a:ext cx="1735649" cy="336323"/>
          </a:xfrm>
          <a:prstGeom prst="line">
            <a:avLst/>
          </a:prstGeom>
          <a:ln w="19050"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直接连接符 116"/>
          <p:cNvCxnSpPr>
            <a:cxnSpLocks/>
          </p:cNvCxnSpPr>
          <p:nvPr/>
        </p:nvCxnSpPr>
        <p:spPr>
          <a:xfrm>
            <a:off x="1228656" y="3266008"/>
            <a:ext cx="1958517" cy="2632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任意多边形 55"/>
          <p:cNvSpPr/>
          <p:nvPr/>
        </p:nvSpPr>
        <p:spPr>
          <a:xfrm>
            <a:off x="1153653" y="3428005"/>
            <a:ext cx="2004647" cy="295428"/>
          </a:xfrm>
          <a:custGeom>
            <a:avLst/>
            <a:gdLst>
              <a:gd name="connsiteX0" fmla="*/ 2004647 w 2004647"/>
              <a:gd name="connsiteY0" fmla="*/ 7034 h 295428"/>
              <a:gd name="connsiteX1" fmla="*/ 724487 w 2004647"/>
              <a:gd name="connsiteY1" fmla="*/ 295421 h 295428"/>
              <a:gd name="connsiteX2" fmla="*/ 0 w 2004647"/>
              <a:gd name="connsiteY2" fmla="*/ 0 h 295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04647" h="295428">
                <a:moveTo>
                  <a:pt x="2004647" y="7034"/>
                </a:moveTo>
                <a:cubicBezTo>
                  <a:pt x="1531621" y="151813"/>
                  <a:pt x="1058595" y="296593"/>
                  <a:pt x="724487" y="295421"/>
                </a:cubicBezTo>
                <a:cubicBezTo>
                  <a:pt x="390379" y="294249"/>
                  <a:pt x="195189" y="147124"/>
                  <a:pt x="0" y="0"/>
                </a:cubicBezTo>
              </a:path>
            </a:pathLst>
          </a:custGeom>
          <a:noFill/>
          <a:ln w="19050">
            <a:solidFill>
              <a:srgbClr val="FF000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8" name="文本框 117"/>
          <p:cNvSpPr txBox="1"/>
          <p:nvPr/>
        </p:nvSpPr>
        <p:spPr>
          <a:xfrm rot="21390844">
            <a:off x="1674430" y="3462726"/>
            <a:ext cx="7470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FF0000"/>
                </a:solidFill>
              </a:rPr>
              <a:t>mirror</a:t>
            </a:r>
            <a:endParaRPr lang="zh-CN" altLang="en-US" sz="1200" dirty="0">
              <a:solidFill>
                <a:srgbClr val="FF0000"/>
              </a:solidFill>
            </a:endParaRPr>
          </a:p>
        </p:txBody>
      </p:sp>
      <p:sp>
        <p:nvSpPr>
          <p:cNvPr id="119" name="矩形 118">
            <a:extLst>
              <a:ext uri="{FF2B5EF4-FFF2-40B4-BE49-F238E27FC236}">
                <a16:creationId xmlns="" xmlns:a16="http://schemas.microsoft.com/office/drawing/2014/main" id="{21D99E60-EEDD-D04F-B732-ED2A823E712B}"/>
              </a:ext>
            </a:extLst>
          </p:cNvPr>
          <p:cNvSpPr/>
          <p:nvPr/>
        </p:nvSpPr>
        <p:spPr>
          <a:xfrm>
            <a:off x="251087" y="3053294"/>
            <a:ext cx="7458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rPr>
              <a:t>BDS</a:t>
            </a:r>
            <a:endParaRPr lang="zh-CN" altLang="en-US" sz="1400" dirty="0">
              <a:solidFill>
                <a:schemeClr val="bg1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</a:endParaRPr>
          </a:p>
        </p:txBody>
      </p:sp>
      <p:sp>
        <p:nvSpPr>
          <p:cNvPr id="120" name="矩形 119">
            <a:extLst>
              <a:ext uri="{FF2B5EF4-FFF2-40B4-BE49-F238E27FC236}">
                <a16:creationId xmlns="" xmlns:a16="http://schemas.microsoft.com/office/drawing/2014/main" id="{21D99E60-EEDD-D04F-B732-ED2A823E712B}"/>
              </a:ext>
            </a:extLst>
          </p:cNvPr>
          <p:cNvSpPr/>
          <p:nvPr/>
        </p:nvSpPr>
        <p:spPr>
          <a:xfrm>
            <a:off x="226377" y="4696165"/>
            <a:ext cx="7816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rPr>
              <a:t>BDS</a:t>
            </a:r>
            <a:endParaRPr lang="zh-CN" altLang="en-US" sz="1400" dirty="0">
              <a:solidFill>
                <a:schemeClr val="bg1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</a:endParaRPr>
          </a:p>
        </p:txBody>
      </p:sp>
      <p:pic>
        <p:nvPicPr>
          <p:cNvPr id="121" name="图片 120">
            <a:extLst>
              <a:ext uri="{FF2B5EF4-FFF2-40B4-BE49-F238E27FC236}">
                <a16:creationId xmlns="" xmlns:a16="http://schemas.microsoft.com/office/drawing/2014/main" id="{1B673665-4E0E-B74E-B955-20A9BED6F3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78090" y="1904217"/>
            <a:ext cx="573283" cy="579016"/>
          </a:xfrm>
          <a:prstGeom prst="rect">
            <a:avLst/>
          </a:prstGeom>
        </p:spPr>
      </p:pic>
      <p:sp>
        <p:nvSpPr>
          <p:cNvPr id="87" name="Title 1">
            <a:extLst>
              <a:ext uri="{FF2B5EF4-FFF2-40B4-BE49-F238E27FC236}">
                <a16:creationId xmlns="" xmlns:a16="http://schemas.microsoft.com/office/drawing/2014/main" id="{3B838B2D-5338-9D44-B47E-29A8E4E62A9A}"/>
              </a:ext>
            </a:extLst>
          </p:cNvPr>
          <p:cNvSpPr txBox="1">
            <a:spLocks/>
          </p:cNvSpPr>
          <p:nvPr/>
        </p:nvSpPr>
        <p:spPr>
          <a:xfrm>
            <a:off x="577044" y="302827"/>
            <a:ext cx="9204576" cy="4431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00328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x-none" dirty="0"/>
              <a:t>iSource</a:t>
            </a:r>
            <a:r>
              <a:rPr lang="zh-CN" altLang="en-US" dirty="0"/>
              <a:t> </a:t>
            </a:r>
            <a:r>
              <a:rPr lang="en-US" altLang="zh-CN" dirty="0"/>
              <a:t>Deployment Scenario- Cluster</a:t>
            </a:r>
            <a:endParaRPr lang="x-none" dirty="0"/>
          </a:p>
        </p:txBody>
      </p:sp>
      <p:sp>
        <p:nvSpPr>
          <p:cNvPr id="92" name="Round Same Side Corner Rectangle 91">
            <a:extLst>
              <a:ext uri="{FF2B5EF4-FFF2-40B4-BE49-F238E27FC236}">
                <a16:creationId xmlns="" xmlns:a16="http://schemas.microsoft.com/office/drawing/2014/main" id="{F12EBC09-9A59-7243-B88A-68150776EE3D}"/>
              </a:ext>
            </a:extLst>
          </p:cNvPr>
          <p:cNvSpPr/>
          <p:nvPr/>
        </p:nvSpPr>
        <p:spPr>
          <a:xfrm>
            <a:off x="9541867" y="1686512"/>
            <a:ext cx="2474828" cy="608220"/>
          </a:xfrm>
          <a:prstGeom prst="round2SameRect">
            <a:avLst/>
          </a:prstGeom>
          <a:solidFill>
            <a:srgbClr val="003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dirty="0"/>
              <a:t>Cluster Deployment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45694FCA-B05A-E542-B426-5AE07AF0E138}"/>
              </a:ext>
            </a:extLst>
          </p:cNvPr>
          <p:cNvSpPr txBox="1"/>
          <p:nvPr/>
        </p:nvSpPr>
        <p:spPr>
          <a:xfrm>
            <a:off x="9621158" y="2469518"/>
            <a:ext cx="2382816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dirty="0" smtClean="0"/>
              <a:t>BDS </a:t>
            </a:r>
            <a:r>
              <a:rPr lang="x-none" dirty="0"/>
              <a:t>as a network sensor in TAP mod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dirty="0"/>
              <a:t>Cluster </a:t>
            </a:r>
            <a:r>
              <a:rPr lang="en-US" dirty="0"/>
              <a:t>u</a:t>
            </a:r>
            <a:r>
              <a:rPr lang="x-none" dirty="0"/>
              <a:t>p to 5 nodes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x-none" dirty="0"/>
              <a:t>iSource deployment has litt</a:t>
            </a:r>
            <a:r>
              <a:rPr lang="en-US" dirty="0"/>
              <a:t>le</a:t>
            </a:r>
            <a:r>
              <a:rPr lang="x-none" dirty="0"/>
              <a:t> impact </a:t>
            </a:r>
            <a:r>
              <a:rPr lang="en-US" dirty="0"/>
              <a:t>on </a:t>
            </a:r>
            <a:r>
              <a:rPr lang="x-none" dirty="0"/>
              <a:t>the </a:t>
            </a:r>
            <a:r>
              <a:rPr lang="en-US" dirty="0"/>
              <a:t>existing </a:t>
            </a:r>
            <a:r>
              <a:rPr lang="x-none" dirty="0"/>
              <a:t>network environmen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Highly scalable solution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62208170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Rounded Corners 28">
            <a:extLst>
              <a:ext uri="{FF2B5EF4-FFF2-40B4-BE49-F238E27FC236}">
                <a16:creationId xmlns="" xmlns:a16="http://schemas.microsoft.com/office/drawing/2014/main" id="{199E7690-B50A-44B3-9AA4-0BC7455EE942}"/>
              </a:ext>
            </a:extLst>
          </p:cNvPr>
          <p:cNvSpPr/>
          <p:nvPr/>
        </p:nvSpPr>
        <p:spPr>
          <a:xfrm>
            <a:off x="593004" y="5311616"/>
            <a:ext cx="3492500" cy="858552"/>
          </a:xfrm>
          <a:prstGeom prst="roundRect">
            <a:avLst>
              <a:gd name="adj" fmla="val 1258"/>
            </a:avLst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ounded Rectangle 43">
            <a:extLst>
              <a:ext uri="{FF2B5EF4-FFF2-40B4-BE49-F238E27FC236}">
                <a16:creationId xmlns="" xmlns:a16="http://schemas.microsoft.com/office/drawing/2014/main" id="{8D66C308-4137-034E-A0D8-7A9AF0993AFD}"/>
              </a:ext>
            </a:extLst>
          </p:cNvPr>
          <p:cNvSpPr/>
          <p:nvPr/>
        </p:nvSpPr>
        <p:spPr>
          <a:xfrm>
            <a:off x="587374" y="3606693"/>
            <a:ext cx="3492500" cy="1697238"/>
          </a:xfrm>
          <a:prstGeom prst="roundRect">
            <a:avLst>
              <a:gd name="adj" fmla="val 720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3" name="Rounded Rectangle 42">
            <a:extLst>
              <a:ext uri="{FF2B5EF4-FFF2-40B4-BE49-F238E27FC236}">
                <a16:creationId xmlns="" xmlns:a16="http://schemas.microsoft.com/office/drawing/2014/main" id="{E9F4EF25-1F9C-4B43-8BEF-D69987A27219}"/>
              </a:ext>
            </a:extLst>
          </p:cNvPr>
          <p:cNvSpPr/>
          <p:nvPr/>
        </p:nvSpPr>
        <p:spPr>
          <a:xfrm>
            <a:off x="8445942" y="4320170"/>
            <a:ext cx="3187858" cy="1966394"/>
          </a:xfrm>
          <a:prstGeom prst="roundRect">
            <a:avLst>
              <a:gd name="adj" fmla="val 7205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2" name="Rounded Rectangle 41">
            <a:extLst>
              <a:ext uri="{FF2B5EF4-FFF2-40B4-BE49-F238E27FC236}">
                <a16:creationId xmlns="" xmlns:a16="http://schemas.microsoft.com/office/drawing/2014/main" id="{D29FAF38-F142-1945-86FE-52D6BA2BA6B0}"/>
              </a:ext>
            </a:extLst>
          </p:cNvPr>
          <p:cNvSpPr/>
          <p:nvPr/>
        </p:nvSpPr>
        <p:spPr>
          <a:xfrm>
            <a:off x="8445942" y="2374257"/>
            <a:ext cx="3187858" cy="60569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="" xmlns:a16="http://schemas.microsoft.com/office/drawing/2014/main" id="{301BD325-F05D-F546-8CBF-C01C85A4CA4D}"/>
              </a:ext>
            </a:extLst>
          </p:cNvPr>
          <p:cNvSpPr/>
          <p:nvPr/>
        </p:nvSpPr>
        <p:spPr>
          <a:xfrm>
            <a:off x="4266403" y="1206183"/>
            <a:ext cx="3659194" cy="47603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8DFD4B-35D3-4179-BD1A-4AD8F5A20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>
                <a:latin typeface=""/>
                <a:sym typeface=""/>
              </a:rPr>
              <a:t>Use Case- Ransomware Solution</a:t>
            </a:r>
            <a:endParaRPr lang="x-none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="" xmlns:a16="http://schemas.microsoft.com/office/drawing/2014/main" id="{40C13A09-3A3C-4A99-9C26-B5D4BCCD3E9F}"/>
              </a:ext>
            </a:extLst>
          </p:cNvPr>
          <p:cNvSpPr/>
          <p:nvPr/>
        </p:nvSpPr>
        <p:spPr>
          <a:xfrm>
            <a:off x="4581525" y="2246503"/>
            <a:ext cx="3028950" cy="302895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图片 48">
            <a:extLst>
              <a:ext uri="{FF2B5EF4-FFF2-40B4-BE49-F238E27FC236}">
                <a16:creationId xmlns="" xmlns:a16="http://schemas.microsoft.com/office/drawing/2014/main" id="{8385D984-A289-43C0-AF77-70B55E3B26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9224" y="2986200"/>
            <a:ext cx="1733552" cy="154955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Oval 2">
            <a:extLst>
              <a:ext uri="{FF2B5EF4-FFF2-40B4-BE49-F238E27FC236}">
                <a16:creationId xmlns="" xmlns:a16="http://schemas.microsoft.com/office/drawing/2014/main" id="{6B57D7D7-1360-4973-8E3A-A7A5B8453C12}"/>
              </a:ext>
            </a:extLst>
          </p:cNvPr>
          <p:cNvSpPr/>
          <p:nvPr/>
        </p:nvSpPr>
        <p:spPr>
          <a:xfrm>
            <a:off x="4484688" y="2114106"/>
            <a:ext cx="1181100" cy="11811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200" b="1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hreat Detection</a:t>
            </a:r>
            <a:endParaRPr 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="" xmlns:a16="http://schemas.microsoft.com/office/drawing/2014/main" id="{24E70933-92FB-44AD-9132-0459D7299574}"/>
              </a:ext>
            </a:extLst>
          </p:cNvPr>
          <p:cNvSpPr/>
          <p:nvPr/>
        </p:nvSpPr>
        <p:spPr>
          <a:xfrm>
            <a:off x="6535739" y="2114106"/>
            <a:ext cx="1181100" cy="11811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200" b="1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Forensic&amp; Analysis</a:t>
            </a:r>
            <a:endParaRPr 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="" xmlns:a16="http://schemas.microsoft.com/office/drawing/2014/main" id="{650CBDEF-2777-42D9-AFC8-81A143F17C9C}"/>
              </a:ext>
            </a:extLst>
          </p:cNvPr>
          <p:cNvSpPr/>
          <p:nvPr/>
        </p:nvSpPr>
        <p:spPr>
          <a:xfrm>
            <a:off x="4484688" y="4228656"/>
            <a:ext cx="1181100" cy="11811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Root Cause Analysis</a:t>
            </a:r>
            <a:endParaRPr 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75DCC1FA-9F3B-4A53-BC38-05BED999642F}"/>
              </a:ext>
            </a:extLst>
          </p:cNvPr>
          <p:cNvSpPr/>
          <p:nvPr/>
        </p:nvSpPr>
        <p:spPr>
          <a:xfrm>
            <a:off x="6535739" y="4228656"/>
            <a:ext cx="1181100" cy="1181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200" b="1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lerts&amp; Response</a:t>
            </a:r>
            <a:endParaRPr 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10029A07-B96A-400F-9AAC-D419070B17D2}"/>
              </a:ext>
            </a:extLst>
          </p:cNvPr>
          <p:cNvSpPr txBox="1"/>
          <p:nvPr/>
        </p:nvSpPr>
        <p:spPr>
          <a:xfrm>
            <a:off x="4416152" y="1272729"/>
            <a:ext cx="333429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x-none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ple alters for remote code execution via RDP on </a:t>
            </a:r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soft Server Message Block 1.0 (SMBv1) server</a:t>
            </a:r>
            <a:endParaRPr lang="x-none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="" xmlns:a16="http://schemas.microsoft.com/office/drawing/2014/main" id="{5A3F2F9A-3A45-4447-A43A-75BC38744E3C}"/>
              </a:ext>
            </a:extLst>
          </p:cNvPr>
          <p:cNvSpPr/>
          <p:nvPr/>
        </p:nvSpPr>
        <p:spPr>
          <a:xfrm>
            <a:off x="8446304" y="1127826"/>
            <a:ext cx="3158245" cy="1167880"/>
          </a:xfrm>
          <a:prstGeom prst="roundRect">
            <a:avLst>
              <a:gd name="adj" fmla="val 1258"/>
            </a:avLst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3">
            <a:extLst>
              <a:ext uri="{FF2B5EF4-FFF2-40B4-BE49-F238E27FC236}">
                <a16:creationId xmlns="" xmlns:a16="http://schemas.microsoft.com/office/drawing/2014/main" id="{929A0B12-C5F9-47AE-8C86-267F5BFCE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530" y="1233083"/>
            <a:ext cx="2905792" cy="9573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2" name="Oval 21">
            <a:extLst>
              <a:ext uri="{FF2B5EF4-FFF2-40B4-BE49-F238E27FC236}">
                <a16:creationId xmlns="" xmlns:a16="http://schemas.microsoft.com/office/drawing/2014/main" id="{128644A8-A8AA-45A5-A828-9DB1ACD09057}"/>
              </a:ext>
            </a:extLst>
          </p:cNvPr>
          <p:cNvSpPr/>
          <p:nvPr/>
        </p:nvSpPr>
        <p:spPr>
          <a:xfrm>
            <a:off x="4266403" y="1816516"/>
            <a:ext cx="417517" cy="4175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01</a:t>
            </a:r>
            <a:endParaRPr 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="" xmlns:a16="http://schemas.microsoft.com/office/drawing/2014/main" id="{13B72E88-B97D-4C31-8638-AA6CCB4F6F2E}"/>
              </a:ext>
            </a:extLst>
          </p:cNvPr>
          <p:cNvSpPr/>
          <p:nvPr/>
        </p:nvSpPr>
        <p:spPr>
          <a:xfrm>
            <a:off x="587375" y="1117479"/>
            <a:ext cx="3492500" cy="2480939"/>
          </a:xfrm>
          <a:prstGeom prst="roundRect">
            <a:avLst>
              <a:gd name="adj" fmla="val 1258"/>
            </a:avLst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387B28B6-B670-466A-A652-C97536F7A555}"/>
              </a:ext>
            </a:extLst>
          </p:cNvPr>
          <p:cNvSpPr/>
          <p:nvPr/>
        </p:nvSpPr>
        <p:spPr>
          <a:xfrm>
            <a:off x="4266404" y="5303932"/>
            <a:ext cx="417517" cy="4175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04</a:t>
            </a:r>
            <a:endParaRPr 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pic>
        <p:nvPicPr>
          <p:cNvPr id="27" name="Picture 4">
            <a:extLst>
              <a:ext uri="{FF2B5EF4-FFF2-40B4-BE49-F238E27FC236}">
                <a16:creationId xmlns="" xmlns:a16="http://schemas.microsoft.com/office/drawing/2014/main" id="{5DADD04B-9CE9-4913-B1F7-72A3F041A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83" y="5408596"/>
            <a:ext cx="3335943" cy="6645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scene3d>
            <a:camera prst="orthographicFront"/>
            <a:lightRig rig="twoPt" dir="t">
              <a:rot lat="0" lon="0" rev="0"/>
            </a:lightRig>
          </a:scene3d>
          <a:sp3d>
            <a:bevelT w="0" h="0"/>
            <a:contourClr>
              <a:srgbClr val="FFFFFF"/>
            </a:contourClr>
          </a:sp3d>
        </p:spPr>
      </p:pic>
      <p:pic>
        <p:nvPicPr>
          <p:cNvPr id="31" name="Picture 1">
            <a:extLst>
              <a:ext uri="{FF2B5EF4-FFF2-40B4-BE49-F238E27FC236}">
                <a16:creationId xmlns="" xmlns:a16="http://schemas.microsoft.com/office/drawing/2014/main" id="{AD96BDB4-1661-44D2-BA18-E02522D13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414" y="1206183"/>
            <a:ext cx="2922422" cy="2303530"/>
          </a:xfrm>
          <a:prstGeom prst="roundRect">
            <a:avLst>
              <a:gd name="adj" fmla="val 0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2C97106-65D8-468E-A7ED-10E48AC8A8C0}"/>
              </a:ext>
            </a:extLst>
          </p:cNvPr>
          <p:cNvSpPr/>
          <p:nvPr/>
        </p:nvSpPr>
        <p:spPr>
          <a:xfrm>
            <a:off x="593364" y="3668739"/>
            <a:ext cx="246784" cy="246784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B27843A5-4D38-4EC1-92A5-F3DBB1A42664}"/>
              </a:ext>
            </a:extLst>
          </p:cNvPr>
          <p:cNvSpPr/>
          <p:nvPr/>
        </p:nvSpPr>
        <p:spPr>
          <a:xfrm>
            <a:off x="593364" y="4708657"/>
            <a:ext cx="246784" cy="246784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2C35A8F5-CAA8-4E1E-B9FE-61DD0BBF3BE6}"/>
              </a:ext>
            </a:extLst>
          </p:cNvPr>
          <p:cNvSpPr/>
          <p:nvPr/>
        </p:nvSpPr>
        <p:spPr>
          <a:xfrm>
            <a:off x="593364" y="4293476"/>
            <a:ext cx="246784" cy="246784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FD5434E7-8AB3-4713-9DC2-3596FC5F60F1}"/>
              </a:ext>
            </a:extLst>
          </p:cNvPr>
          <p:cNvSpPr txBox="1"/>
          <p:nvPr/>
        </p:nvSpPr>
        <p:spPr>
          <a:xfrm>
            <a:off x="933448" y="3668739"/>
            <a:ext cx="30289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zh-CN" altLang="en-US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ver</a:t>
            </a:r>
            <a:r>
              <a:rPr lang="zh-CN" altLang="en-US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zh-CN" altLang="en-US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  <a:r>
              <a:rPr lang="zh-CN" altLang="en-US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net</a:t>
            </a:r>
            <a:r>
              <a:rPr lang="zh-CN" altLang="en-US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zh-CN" altLang="en-US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 </a:t>
            </a:r>
            <a:r>
              <a:rPr lang="x-none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acked by the brute force scanner from hacker when it was working as Internet NAT device during operation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n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x-none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worked as a jump server to attack the rest of the network and other domains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589269A6-BC1A-4E1B-81C3-1D6CF5EDF2DF}"/>
              </a:ext>
            </a:extLst>
          </p:cNvPr>
          <p:cNvSpPr txBox="1"/>
          <p:nvPr/>
        </p:nvSpPr>
        <p:spPr>
          <a:xfrm>
            <a:off x="933449" y="4278369"/>
            <a:ext cx="314642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x-none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omain controller server of domain B was then compromised beca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of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x-none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k password. All the credentials 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e 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omised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x-none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4AEB5823-2D35-4B30-94E0-8D5B56708EE2}"/>
              </a:ext>
            </a:extLst>
          </p:cNvPr>
          <p:cNvSpPr txBox="1"/>
          <p:nvPr/>
        </p:nvSpPr>
        <p:spPr>
          <a:xfrm>
            <a:off x="933448" y="4706354"/>
            <a:ext cx="28130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x-none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servers in domain B 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e 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ged into 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ly </a:t>
            </a:r>
            <a:r>
              <a:rPr lang="x-none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executed 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ansomware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x-none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357FDCF7-21B5-4376-981F-A387E8B15C59}"/>
              </a:ext>
            </a:extLst>
          </p:cNvPr>
          <p:cNvSpPr txBox="1"/>
          <p:nvPr/>
        </p:nvSpPr>
        <p:spPr>
          <a:xfrm>
            <a:off x="933448" y="5050196"/>
            <a:ext cx="28130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tes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x-none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-virus software using </a:t>
            </a:r>
            <a:r>
              <a:rPr lang="x-none" altLang="zh-CN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C Hunter</a:t>
            </a:r>
            <a:r>
              <a:rPr lang="en-US" altLang="zh-CN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C91B30F8-5A51-4D23-851B-75991A434670}"/>
              </a:ext>
            </a:extLst>
          </p:cNvPr>
          <p:cNvSpPr/>
          <p:nvPr/>
        </p:nvSpPr>
        <p:spPr>
          <a:xfrm>
            <a:off x="593364" y="4996053"/>
            <a:ext cx="246784" cy="246784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="" xmlns:a16="http://schemas.microsoft.com/office/drawing/2014/main" id="{95065F6B-04D9-471B-88CA-8D57762C56E1}"/>
              </a:ext>
            </a:extLst>
          </p:cNvPr>
          <p:cNvSpPr/>
          <p:nvPr/>
        </p:nvSpPr>
        <p:spPr>
          <a:xfrm>
            <a:off x="7508080" y="1816516"/>
            <a:ext cx="417517" cy="41751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02</a:t>
            </a:r>
            <a:endParaRPr 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9FED9B7F-DF9E-4B06-8B85-ADB161036105}"/>
              </a:ext>
            </a:extLst>
          </p:cNvPr>
          <p:cNvSpPr txBox="1"/>
          <p:nvPr/>
        </p:nvSpPr>
        <p:spPr>
          <a:xfrm>
            <a:off x="8547554" y="2429563"/>
            <a:ext cx="300797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x-none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 Source IP of the attack is an internal host. It has been affected by ‘eternal blue’ ransomware after investigation, and is being spread.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="" xmlns:a16="http://schemas.microsoft.com/office/drawing/2014/main" id="{49589227-5A77-43D7-9975-1FD9CCC50022}"/>
              </a:ext>
            </a:extLst>
          </p:cNvPr>
          <p:cNvSpPr/>
          <p:nvPr/>
        </p:nvSpPr>
        <p:spPr>
          <a:xfrm>
            <a:off x="8446380" y="3096353"/>
            <a:ext cx="3158245" cy="954107"/>
          </a:xfrm>
          <a:prstGeom prst="roundRect">
            <a:avLst>
              <a:gd name="adj" fmla="val 1258"/>
            </a:avLst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Picture 2">
            <a:extLst>
              <a:ext uri="{FF2B5EF4-FFF2-40B4-BE49-F238E27FC236}">
                <a16:creationId xmlns="" xmlns:a16="http://schemas.microsoft.com/office/drawing/2014/main" id="{C4F1393C-AEDA-430C-9F83-3185805C4B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7555" y="3220249"/>
            <a:ext cx="2955895" cy="706315"/>
          </a:xfrm>
          <a:prstGeom prst="roundRect">
            <a:avLst>
              <a:gd name="adj" fmla="val 0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Oval 49">
            <a:extLst>
              <a:ext uri="{FF2B5EF4-FFF2-40B4-BE49-F238E27FC236}">
                <a16:creationId xmlns="" xmlns:a16="http://schemas.microsoft.com/office/drawing/2014/main" id="{5815071B-F410-4160-AF5B-5C83BA721773}"/>
              </a:ext>
            </a:extLst>
          </p:cNvPr>
          <p:cNvSpPr/>
          <p:nvPr/>
        </p:nvSpPr>
        <p:spPr>
          <a:xfrm>
            <a:off x="7510461" y="5303931"/>
            <a:ext cx="417517" cy="41751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03</a:t>
            </a:r>
            <a:endParaRPr 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CE74E436-6699-44C2-B769-000CBF496FDD}"/>
              </a:ext>
            </a:extLst>
          </p:cNvPr>
          <p:cNvSpPr txBox="1"/>
          <p:nvPr/>
        </p:nvSpPr>
        <p:spPr>
          <a:xfrm>
            <a:off x="8630528" y="4362121"/>
            <a:ext cx="300797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x-none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e includes: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9CB18B91-E995-489A-953A-F1F2F12AC981}"/>
              </a:ext>
            </a:extLst>
          </p:cNvPr>
          <p:cNvSpPr/>
          <p:nvPr/>
        </p:nvSpPr>
        <p:spPr>
          <a:xfrm>
            <a:off x="8449138" y="4741784"/>
            <a:ext cx="246784" cy="2467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1FF19C40-6B8C-4321-A9C0-32697B777A4F}"/>
              </a:ext>
            </a:extLst>
          </p:cNvPr>
          <p:cNvSpPr/>
          <p:nvPr/>
        </p:nvSpPr>
        <p:spPr>
          <a:xfrm>
            <a:off x="8453158" y="5524827"/>
            <a:ext cx="246784" cy="2467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33CD45F7-67DF-48CD-899D-346787957D38}"/>
              </a:ext>
            </a:extLst>
          </p:cNvPr>
          <p:cNvSpPr/>
          <p:nvPr/>
        </p:nvSpPr>
        <p:spPr>
          <a:xfrm>
            <a:off x="8453158" y="5126271"/>
            <a:ext cx="246784" cy="2467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7F7180B2-0C9D-49AE-BECD-D02E64E1B4E0}"/>
              </a:ext>
            </a:extLst>
          </p:cNvPr>
          <p:cNvSpPr/>
          <p:nvPr/>
        </p:nvSpPr>
        <p:spPr>
          <a:xfrm>
            <a:off x="8453158" y="5923384"/>
            <a:ext cx="246784" cy="2467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992859AB-A2E0-41E1-B315-D050A84E6A2B}"/>
              </a:ext>
            </a:extLst>
          </p:cNvPr>
          <p:cNvSpPr txBox="1"/>
          <p:nvPr/>
        </p:nvSpPr>
        <p:spPr>
          <a:xfrm>
            <a:off x="8695922" y="4780375"/>
            <a:ext cx="300797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x-none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se port 445 and deny the bilateral data reques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52C08C6E-5A65-4D37-B958-5A4241ADC030}"/>
              </a:ext>
            </a:extLst>
          </p:cNvPr>
          <p:cNvSpPr txBox="1"/>
          <p:nvPr/>
        </p:nvSpPr>
        <p:spPr>
          <a:xfrm>
            <a:off x="8699942" y="5148748"/>
            <a:ext cx="300797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x-none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ver and analyze the compromised hosts and take them offlin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6EE5B788-7B88-4C13-A6B2-1CDE0DC89884}"/>
              </a:ext>
            </a:extLst>
          </p:cNvPr>
          <p:cNvSpPr txBox="1"/>
          <p:nvPr/>
        </p:nvSpPr>
        <p:spPr>
          <a:xfrm>
            <a:off x="8702273" y="5581642"/>
            <a:ext cx="300797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x-none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l 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S17-010 patch to all internal host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90BCA8D2-BAA6-401A-9BCE-25A692A82B32}"/>
              </a:ext>
            </a:extLst>
          </p:cNvPr>
          <p:cNvSpPr txBox="1"/>
          <p:nvPr/>
        </p:nvSpPr>
        <p:spPr>
          <a:xfrm>
            <a:off x="8700764" y="5978690"/>
            <a:ext cx="293963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x-none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ct relevant data to build a solution in the future.</a:t>
            </a:r>
          </a:p>
        </p:txBody>
      </p:sp>
    </p:spTree>
    <p:extLst>
      <p:ext uri="{BB962C8B-B14F-4D97-AF65-F5344CB8AC3E}">
        <p14:creationId xmlns:p14="http://schemas.microsoft.com/office/powerpoint/2010/main" val="14288633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407BCBE-0EA8-42FA-AA12-0D55D2C78795}"/>
              </a:ext>
            </a:extLst>
          </p:cNvPr>
          <p:cNvSpPr/>
          <p:nvPr/>
        </p:nvSpPr>
        <p:spPr>
          <a:xfrm>
            <a:off x="602529" y="4814905"/>
            <a:ext cx="8379546" cy="13849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8DFD4B-35D3-4179-BD1A-4AD8F5A20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>
                <a:sym typeface=""/>
              </a:rPr>
              <a:t>Use Case– Crypto-mining</a:t>
            </a:r>
            <a:endParaRPr lang="x-none" dirty="0"/>
          </a:p>
        </p:txBody>
      </p:sp>
      <p:sp>
        <p:nvSpPr>
          <p:cNvPr id="43" name="Rectangle: Rounded Corners 42">
            <a:extLst>
              <a:ext uri="{FF2B5EF4-FFF2-40B4-BE49-F238E27FC236}">
                <a16:creationId xmlns="" xmlns:a16="http://schemas.microsoft.com/office/drawing/2014/main" id="{8B028F5E-25BF-4853-B07D-EE742C2DD4DD}"/>
              </a:ext>
            </a:extLst>
          </p:cNvPr>
          <p:cNvSpPr/>
          <p:nvPr/>
        </p:nvSpPr>
        <p:spPr>
          <a:xfrm>
            <a:off x="7473800" y="1147959"/>
            <a:ext cx="4130750" cy="5052689"/>
          </a:xfrm>
          <a:prstGeom prst="roundRect">
            <a:avLst>
              <a:gd name="adj" fmla="val 1258"/>
            </a:avLst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D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图片 18">
            <a:extLst>
              <a:ext uri="{FF2B5EF4-FFF2-40B4-BE49-F238E27FC236}">
                <a16:creationId xmlns="" xmlns:a16="http://schemas.microsoft.com/office/drawing/2014/main" id="{EBBF86E9-2A06-4916-9773-DC14774837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0785" y="3770056"/>
            <a:ext cx="3396781" cy="219689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5" name="图片 19">
            <a:extLst>
              <a:ext uri="{FF2B5EF4-FFF2-40B4-BE49-F238E27FC236}">
                <a16:creationId xmlns="" xmlns:a16="http://schemas.microsoft.com/office/drawing/2014/main" id="{CDB81722-BD6F-476D-A7D8-046F3704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0785" y="1416886"/>
            <a:ext cx="3396780" cy="2160919"/>
          </a:xfrm>
          <a:prstGeom prst="rect">
            <a:avLst/>
          </a:prstGeom>
          <a:ln>
            <a:noFill/>
          </a:ln>
          <a:effectLst/>
        </p:spPr>
      </p:pic>
      <p:sp>
        <p:nvSpPr>
          <p:cNvPr id="52" name="文本框 17">
            <a:extLst>
              <a:ext uri="{FF2B5EF4-FFF2-40B4-BE49-F238E27FC236}">
                <a16:creationId xmlns="" xmlns:a16="http://schemas.microsoft.com/office/drawing/2014/main" id="{63CD6862-41AD-4F3C-B65E-1BE6B26A1DC2}"/>
              </a:ext>
            </a:extLst>
          </p:cNvPr>
          <p:cNvSpPr txBox="1"/>
          <p:nvPr/>
        </p:nvSpPr>
        <p:spPr>
          <a:xfrm>
            <a:off x="587375" y="1213721"/>
            <a:ext cx="6289674" cy="138499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2880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s the value of digital currency continues to rise, stealing the computing power of a user's computer processor for mining has become one of the main threats in the online world. </a:t>
            </a:r>
          </a:p>
          <a:p>
            <a:pPr marL="182880" indent="-18288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Education is the industry most heavily impacted by crypto-mining and Trojan horse attacks</a:t>
            </a:r>
            <a:endParaRPr lang="zh-CN" altLang="en-US" sz="16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1815E6B4-1BDB-47B1-9432-C15E0B8E8B0B}"/>
              </a:ext>
            </a:extLst>
          </p:cNvPr>
          <p:cNvSpPr txBox="1"/>
          <p:nvPr/>
        </p:nvSpPr>
        <p:spPr>
          <a:xfrm>
            <a:off x="839787" y="5014960"/>
            <a:ext cx="6338105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x-none" sz="16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Crypto</a:t>
            </a:r>
            <a:r>
              <a:rPr lang="en-US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-</a:t>
            </a:r>
            <a:r>
              <a:rPr lang="x-none" sz="16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mining </a:t>
            </a:r>
            <a:r>
              <a:rPr lang="x-none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Trojan horses were found in multiple servers in a customer who deployed iSource in their environment. The compromised servers were sending a large amount of data to the mining pool frequently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789C4AD6-01BD-4E6A-ABA0-613DC933F0CE}"/>
              </a:ext>
            </a:extLst>
          </p:cNvPr>
          <p:cNvSpPr/>
          <p:nvPr/>
        </p:nvSpPr>
        <p:spPr>
          <a:xfrm>
            <a:off x="587375" y="4111860"/>
            <a:ext cx="1776066" cy="5101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bnormal login</a:t>
            </a:r>
            <a:endParaRPr lang="zh-CN" alt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4EF37B39-A91E-4185-9A83-6264495EFF64}"/>
              </a:ext>
            </a:extLst>
          </p:cNvPr>
          <p:cNvSpPr/>
          <p:nvPr/>
        </p:nvSpPr>
        <p:spPr>
          <a:xfrm>
            <a:off x="2994602" y="4111860"/>
            <a:ext cx="1776066" cy="5101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Privilege escalation</a:t>
            </a:r>
            <a:endParaRPr lang="zh-CN" alt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="" xmlns:a16="http://schemas.microsoft.com/office/drawing/2014/main" id="{A7325387-BC5D-483C-95BA-7E022DE468A8}"/>
              </a:ext>
            </a:extLst>
          </p:cNvPr>
          <p:cNvSpPr/>
          <p:nvPr/>
        </p:nvSpPr>
        <p:spPr>
          <a:xfrm>
            <a:off x="5401827" y="4111860"/>
            <a:ext cx="1776066" cy="5101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llegal upload</a:t>
            </a:r>
            <a:endParaRPr lang="zh-CN" altLang="en-US" sz="1200" b="1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="" xmlns:a16="http://schemas.microsoft.com/office/drawing/2014/main" id="{B3014538-EC72-4FFF-9E54-0D818B4981E7}"/>
              </a:ext>
            </a:extLst>
          </p:cNvPr>
          <p:cNvCxnSpPr>
            <a:cxnSpLocks/>
          </p:cNvCxnSpPr>
          <p:nvPr/>
        </p:nvCxnSpPr>
        <p:spPr>
          <a:xfrm>
            <a:off x="4770667" y="4366924"/>
            <a:ext cx="46427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="" xmlns:a16="http://schemas.microsoft.com/office/drawing/2014/main" id="{43D113E8-1C3B-43E1-9831-8F5711273999}"/>
              </a:ext>
            </a:extLst>
          </p:cNvPr>
          <p:cNvCxnSpPr>
            <a:cxnSpLocks/>
          </p:cNvCxnSpPr>
          <p:nvPr/>
        </p:nvCxnSpPr>
        <p:spPr>
          <a:xfrm>
            <a:off x="2363441" y="4366924"/>
            <a:ext cx="46427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3333B89B-F1AB-4652-9703-A670E087BFB7}"/>
              </a:ext>
            </a:extLst>
          </p:cNvPr>
          <p:cNvSpPr/>
          <p:nvPr/>
        </p:nvSpPr>
        <p:spPr>
          <a:xfrm>
            <a:off x="2159085" y="2869901"/>
            <a:ext cx="1039873" cy="103987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2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bnormal Process</a:t>
            </a:r>
            <a:endParaRPr lang="x-none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="" xmlns:a16="http://schemas.microsoft.com/office/drawing/2014/main" id="{A65A9193-3A5D-41F7-A168-5F3EFB4A0AAA}"/>
              </a:ext>
            </a:extLst>
          </p:cNvPr>
          <p:cNvSpPr/>
          <p:nvPr/>
        </p:nvSpPr>
        <p:spPr>
          <a:xfrm>
            <a:off x="4566311" y="2869901"/>
            <a:ext cx="1039873" cy="103987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2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Abnormal usage</a:t>
            </a:r>
            <a:endParaRPr lang="x-none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17480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8DFD4B-35D3-4179-BD1A-4AD8F5A20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>
                <a:sym typeface=""/>
              </a:rPr>
              <a:t>Use Case–</a:t>
            </a:r>
            <a:r>
              <a:rPr kumimoji="1" lang="zh-CN" altLang="en-US" dirty="0">
                <a:sym typeface=""/>
              </a:rPr>
              <a:t> </a:t>
            </a:r>
            <a:r>
              <a:rPr kumimoji="1" lang="en-US" altLang="zh-CN" dirty="0">
                <a:sym typeface=""/>
              </a:rPr>
              <a:t>Closed Loop Response</a:t>
            </a:r>
            <a:endParaRPr lang="x-none" dirty="0"/>
          </a:p>
        </p:txBody>
      </p:sp>
      <p:grpSp>
        <p:nvGrpSpPr>
          <p:cNvPr id="17" name="组合 17">
            <a:extLst>
              <a:ext uri="{FF2B5EF4-FFF2-40B4-BE49-F238E27FC236}">
                <a16:creationId xmlns="" xmlns:a16="http://schemas.microsoft.com/office/drawing/2014/main" id="{CB00E339-A4BE-4EB5-8DDD-754F1FAC204E}"/>
              </a:ext>
            </a:extLst>
          </p:cNvPr>
          <p:cNvGrpSpPr/>
          <p:nvPr/>
        </p:nvGrpSpPr>
        <p:grpSpPr>
          <a:xfrm>
            <a:off x="3597670" y="1262612"/>
            <a:ext cx="4996661" cy="4848882"/>
            <a:chOff x="2999656" y="692697"/>
            <a:chExt cx="6234418" cy="6239471"/>
          </a:xfrm>
          <a:effectLst/>
        </p:grpSpPr>
        <p:pic>
          <p:nvPicPr>
            <p:cNvPr id="18" name="图片 18">
              <a:extLst>
                <a:ext uri="{FF2B5EF4-FFF2-40B4-BE49-F238E27FC236}">
                  <a16:creationId xmlns="" xmlns:a16="http://schemas.microsoft.com/office/drawing/2014/main" id="{1E9628B0-199A-4B8C-B7A9-10D0973CE4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9656" y="692697"/>
              <a:ext cx="6234418" cy="6239471"/>
            </a:xfrm>
            <a:prstGeom prst="rect">
              <a:avLst/>
            </a:prstGeom>
          </p:spPr>
        </p:pic>
        <p:sp>
          <p:nvSpPr>
            <p:cNvPr id="19" name="TextBox 84">
              <a:extLst>
                <a:ext uri="{FF2B5EF4-FFF2-40B4-BE49-F238E27FC236}">
                  <a16:creationId xmlns="" xmlns:a16="http://schemas.microsoft.com/office/drawing/2014/main" id="{B824ED48-49ED-4907-9059-E28725BC1F68}"/>
                </a:ext>
              </a:extLst>
            </p:cNvPr>
            <p:cNvSpPr txBox="1"/>
            <p:nvPr/>
          </p:nvSpPr>
          <p:spPr>
            <a:xfrm flipH="1">
              <a:off x="5327143" y="3287092"/>
              <a:ext cx="1584176" cy="10693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An attack in a hospital</a:t>
              </a:r>
              <a:endParaRPr kumimoji="0" lang="zh-CN" altLang="en-US" sz="1800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0" name="TextBox 85">
              <a:extLst>
                <a:ext uri="{FF2B5EF4-FFF2-40B4-BE49-F238E27FC236}">
                  <a16:creationId xmlns="" xmlns:a16="http://schemas.microsoft.com/office/drawing/2014/main" id="{AAF439CB-2750-486E-8516-6DE022AE77FB}"/>
                </a:ext>
              </a:extLst>
            </p:cNvPr>
            <p:cNvSpPr txBox="1"/>
            <p:nvPr/>
          </p:nvSpPr>
          <p:spPr>
            <a:xfrm flipH="1">
              <a:off x="5405632" y="1359153"/>
              <a:ext cx="1368151" cy="2079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Incident alert</a:t>
              </a:r>
              <a:endParaRPr kumimoji="0" lang="zh-CN" altLang="en-US" sz="1050" b="1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1" name="TextBox 86">
              <a:extLst>
                <a:ext uri="{FF2B5EF4-FFF2-40B4-BE49-F238E27FC236}">
                  <a16:creationId xmlns="" xmlns:a16="http://schemas.microsoft.com/office/drawing/2014/main" id="{28B34D18-F7D5-4C83-9353-E54D1D0D3B06}"/>
                </a:ext>
              </a:extLst>
            </p:cNvPr>
            <p:cNvSpPr txBox="1"/>
            <p:nvPr/>
          </p:nvSpPr>
          <p:spPr>
            <a:xfrm>
              <a:off x="5405632" y="1832905"/>
              <a:ext cx="1368151" cy="3564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900" kern="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Brute force attack on the password</a:t>
              </a:r>
              <a:endParaRPr kumimoji="0" lang="en-US" altLang="zh-CN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cxnSp>
          <p:nvCxnSpPr>
            <p:cNvPr id="22" name="直接连接符 22">
              <a:extLst>
                <a:ext uri="{FF2B5EF4-FFF2-40B4-BE49-F238E27FC236}">
                  <a16:creationId xmlns="" xmlns:a16="http://schemas.microsoft.com/office/drawing/2014/main" id="{7E3081FB-5395-4177-93ED-0F941EC0B46F}"/>
                </a:ext>
              </a:extLst>
            </p:cNvPr>
            <p:cNvCxnSpPr>
              <a:cxnSpLocks/>
            </p:cNvCxnSpPr>
            <p:nvPr/>
          </p:nvCxnSpPr>
          <p:spPr>
            <a:xfrm>
              <a:off x="5405632" y="1788298"/>
              <a:ext cx="1368151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3" name="TextBox 88">
              <a:extLst>
                <a:ext uri="{FF2B5EF4-FFF2-40B4-BE49-F238E27FC236}">
                  <a16:creationId xmlns="" xmlns:a16="http://schemas.microsoft.com/office/drawing/2014/main" id="{3D423953-81B8-40FC-9802-57264A376C94}"/>
                </a:ext>
              </a:extLst>
            </p:cNvPr>
            <p:cNvSpPr txBox="1"/>
            <p:nvPr/>
          </p:nvSpPr>
          <p:spPr>
            <a:xfrm flipH="1">
              <a:off x="3433078" y="2749288"/>
              <a:ext cx="1368153" cy="4158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Source of attack and evidence</a:t>
              </a:r>
              <a:endParaRPr kumimoji="0" lang="zh-CN" altLang="en-US" sz="1050" b="1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5" name="TextBox 89">
              <a:extLst>
                <a:ext uri="{FF2B5EF4-FFF2-40B4-BE49-F238E27FC236}">
                  <a16:creationId xmlns="" xmlns:a16="http://schemas.microsoft.com/office/drawing/2014/main" id="{26A22193-B384-4DF0-AB29-46486F2CDF3C}"/>
                </a:ext>
              </a:extLst>
            </p:cNvPr>
            <p:cNvSpPr txBox="1"/>
            <p:nvPr/>
          </p:nvSpPr>
          <p:spPr>
            <a:xfrm>
              <a:off x="3433078" y="3254747"/>
              <a:ext cx="1368153" cy="4752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defRPr/>
              </a:pPr>
              <a:r>
                <a:rPr lang="en-US" altLang="zh-CN" sz="800" kern="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Collect evidence and analyze the source of attack</a:t>
              </a:r>
              <a:endParaRPr kumimoji="0" lang="en-US" altLang="zh-CN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cxnSp>
          <p:nvCxnSpPr>
            <p:cNvPr id="26" name="直接连接符 25">
              <a:extLst>
                <a:ext uri="{FF2B5EF4-FFF2-40B4-BE49-F238E27FC236}">
                  <a16:creationId xmlns="" xmlns:a16="http://schemas.microsoft.com/office/drawing/2014/main" id="{FAA16381-01F1-43A2-92D1-7155D7DC8918}"/>
                </a:ext>
              </a:extLst>
            </p:cNvPr>
            <p:cNvCxnSpPr/>
            <p:nvPr/>
          </p:nvCxnSpPr>
          <p:spPr>
            <a:xfrm>
              <a:off x="3433080" y="3221792"/>
              <a:ext cx="1368151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7" name="TextBox 91">
              <a:extLst>
                <a:ext uri="{FF2B5EF4-FFF2-40B4-BE49-F238E27FC236}">
                  <a16:creationId xmlns="" xmlns:a16="http://schemas.microsoft.com/office/drawing/2014/main" id="{9380C2EF-FC48-4329-9970-9BCFB2B1EE89}"/>
                </a:ext>
              </a:extLst>
            </p:cNvPr>
            <p:cNvSpPr txBox="1"/>
            <p:nvPr/>
          </p:nvSpPr>
          <p:spPr>
            <a:xfrm flipH="1">
              <a:off x="4094519" y="5092484"/>
              <a:ext cx="1584176" cy="178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Interactive Response</a:t>
              </a:r>
              <a:endParaRPr kumimoji="0" lang="zh-CN" altLang="en-US" sz="900" b="1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28" name="TextBox 92">
              <a:extLst>
                <a:ext uri="{FF2B5EF4-FFF2-40B4-BE49-F238E27FC236}">
                  <a16:creationId xmlns="" xmlns:a16="http://schemas.microsoft.com/office/drawing/2014/main" id="{2BE085B2-9AAE-45B1-AD49-60111F072266}"/>
                </a:ext>
              </a:extLst>
            </p:cNvPr>
            <p:cNvSpPr txBox="1"/>
            <p:nvPr/>
          </p:nvSpPr>
          <p:spPr>
            <a:xfrm>
              <a:off x="4126948" y="5363715"/>
              <a:ext cx="1407055" cy="7128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900" kern="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dvise on the orchestration and assist on the response</a:t>
              </a:r>
              <a:endParaRPr lang="zh-CN" altLang="en-US" sz="900" kern="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cxnSp>
          <p:nvCxnSpPr>
            <p:cNvPr id="29" name="直接连接符 28">
              <a:extLst>
                <a:ext uri="{FF2B5EF4-FFF2-40B4-BE49-F238E27FC236}">
                  <a16:creationId xmlns="" xmlns:a16="http://schemas.microsoft.com/office/drawing/2014/main" id="{0772CA26-1704-45A5-830E-E89E551A040D}"/>
                </a:ext>
              </a:extLst>
            </p:cNvPr>
            <p:cNvCxnSpPr/>
            <p:nvPr/>
          </p:nvCxnSpPr>
          <p:spPr>
            <a:xfrm>
              <a:off x="4165852" y="5336926"/>
              <a:ext cx="1368151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30" name="TextBox 94">
              <a:extLst>
                <a:ext uri="{FF2B5EF4-FFF2-40B4-BE49-F238E27FC236}">
                  <a16:creationId xmlns="" xmlns:a16="http://schemas.microsoft.com/office/drawing/2014/main" id="{372A522B-D8F8-4049-B7D2-19D3D57F36B3}"/>
                </a:ext>
              </a:extLst>
            </p:cNvPr>
            <p:cNvSpPr txBox="1"/>
            <p:nvPr/>
          </p:nvSpPr>
          <p:spPr>
            <a:xfrm flipH="1">
              <a:off x="6660826" y="5058097"/>
              <a:ext cx="1246606" cy="178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>
                <a:lnSpc>
                  <a:spcPct val="100000"/>
                </a:lnSpc>
                <a:defRPr/>
              </a:pPr>
              <a:r>
                <a:rPr lang="en-US" altLang="zh-CN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Alert Aggregation</a:t>
              </a:r>
              <a:endParaRPr lang="zh-CN" alt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1" name="TextBox 95">
              <a:extLst>
                <a:ext uri="{FF2B5EF4-FFF2-40B4-BE49-F238E27FC236}">
                  <a16:creationId xmlns="" xmlns:a16="http://schemas.microsoft.com/office/drawing/2014/main" id="{162527E3-E8C2-4ADB-89BE-B830A6E24300}"/>
                </a:ext>
              </a:extLst>
            </p:cNvPr>
            <p:cNvSpPr txBox="1"/>
            <p:nvPr/>
          </p:nvSpPr>
          <p:spPr>
            <a:xfrm>
              <a:off x="6660826" y="5402198"/>
              <a:ext cx="1246608" cy="5544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altLang="zh-CN" sz="700" kern="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imilar alerts are aggregated to eliminate redundancy and reduce alert fatigue</a:t>
              </a:r>
              <a:endParaRPr lang="zh-CN" altLang="en-US" sz="700" kern="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cxnSp>
          <p:nvCxnSpPr>
            <p:cNvPr id="32" name="直接连接符 31">
              <a:extLst>
                <a:ext uri="{FF2B5EF4-FFF2-40B4-BE49-F238E27FC236}">
                  <a16:creationId xmlns="" xmlns:a16="http://schemas.microsoft.com/office/drawing/2014/main" id="{C169B762-98FE-4A7A-BE95-0EF78C221D03}"/>
                </a:ext>
              </a:extLst>
            </p:cNvPr>
            <p:cNvCxnSpPr>
              <a:cxnSpLocks/>
            </p:cNvCxnSpPr>
            <p:nvPr/>
          </p:nvCxnSpPr>
          <p:spPr>
            <a:xfrm>
              <a:off x="6600054" y="5309414"/>
              <a:ext cx="1368151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33" name="TextBox 97">
              <a:extLst>
                <a:ext uri="{FF2B5EF4-FFF2-40B4-BE49-F238E27FC236}">
                  <a16:creationId xmlns="" xmlns:a16="http://schemas.microsoft.com/office/drawing/2014/main" id="{E15BE924-1663-42CE-ABA0-B546CDC0614F}"/>
                </a:ext>
              </a:extLst>
            </p:cNvPr>
            <p:cNvSpPr txBox="1"/>
            <p:nvPr/>
          </p:nvSpPr>
          <p:spPr>
            <a:xfrm flipH="1">
              <a:off x="7284130" y="2782321"/>
              <a:ext cx="1584176" cy="178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Correlation Analysis</a:t>
              </a:r>
              <a:endParaRPr kumimoji="0" lang="zh-CN" altLang="en-US" sz="900" b="1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4" name="TextBox 98">
              <a:extLst>
                <a:ext uri="{FF2B5EF4-FFF2-40B4-BE49-F238E27FC236}">
                  <a16:creationId xmlns="" xmlns:a16="http://schemas.microsoft.com/office/drawing/2014/main" id="{8758C3ED-5BE2-455C-8F12-D11176FAC5AE}"/>
                </a:ext>
              </a:extLst>
            </p:cNvPr>
            <p:cNvSpPr txBox="1"/>
            <p:nvPr/>
          </p:nvSpPr>
          <p:spPr>
            <a:xfrm>
              <a:off x="7437233" y="3100258"/>
              <a:ext cx="1277969" cy="5544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defRPr/>
              </a:pPr>
              <a:r>
                <a:rPr lang="en-US" altLang="zh-CN" sz="700" kern="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The captured attack events are correlated and analyzed to infer the hacker’s attack process</a:t>
              </a:r>
              <a:endParaRPr lang="zh-CN" altLang="en-US" sz="700" kern="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cxnSp>
          <p:nvCxnSpPr>
            <p:cNvPr id="35" name="直接连接符 34">
              <a:extLst>
                <a:ext uri="{FF2B5EF4-FFF2-40B4-BE49-F238E27FC236}">
                  <a16:creationId xmlns="" xmlns:a16="http://schemas.microsoft.com/office/drawing/2014/main" id="{872850EE-A2CA-4E41-A4E0-994C4F321055}"/>
                </a:ext>
              </a:extLst>
            </p:cNvPr>
            <p:cNvCxnSpPr>
              <a:cxnSpLocks/>
            </p:cNvCxnSpPr>
            <p:nvPr/>
          </p:nvCxnSpPr>
          <p:spPr>
            <a:xfrm>
              <a:off x="7392142" y="3038540"/>
              <a:ext cx="1368151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36" name="TextBox 100">
              <a:extLst>
                <a:ext uri="{FF2B5EF4-FFF2-40B4-BE49-F238E27FC236}">
                  <a16:creationId xmlns="" xmlns:a16="http://schemas.microsoft.com/office/drawing/2014/main" id="{AAE7B1FC-EB13-45DE-BAD9-06A82A41D625}"/>
                </a:ext>
              </a:extLst>
            </p:cNvPr>
            <p:cNvSpPr txBox="1"/>
            <p:nvPr/>
          </p:nvSpPr>
          <p:spPr>
            <a:xfrm flipH="1">
              <a:off x="7263366" y="1484783"/>
              <a:ext cx="770152" cy="2178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01</a:t>
              </a:r>
              <a:endParaRPr kumimoji="0" lang="zh-CN" altLang="en-US" sz="900" b="1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7" name="TextBox 101">
              <a:extLst>
                <a:ext uri="{FF2B5EF4-FFF2-40B4-BE49-F238E27FC236}">
                  <a16:creationId xmlns="" xmlns:a16="http://schemas.microsoft.com/office/drawing/2014/main" id="{CCA3F1AC-2185-4264-9333-46AE02E7D6C8}"/>
                </a:ext>
              </a:extLst>
            </p:cNvPr>
            <p:cNvSpPr txBox="1"/>
            <p:nvPr/>
          </p:nvSpPr>
          <p:spPr>
            <a:xfrm flipH="1">
              <a:off x="8295344" y="4397044"/>
              <a:ext cx="770152" cy="2178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02</a:t>
              </a:r>
              <a:endParaRPr kumimoji="0" lang="zh-CN" altLang="en-US" sz="1100" b="1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8" name="TextBox 102">
              <a:extLst>
                <a:ext uri="{FF2B5EF4-FFF2-40B4-BE49-F238E27FC236}">
                  <a16:creationId xmlns="" xmlns:a16="http://schemas.microsoft.com/office/drawing/2014/main" id="{0F818CE8-11D1-4271-86C6-AEE5D2A82C94}"/>
                </a:ext>
              </a:extLst>
            </p:cNvPr>
            <p:cNvSpPr txBox="1"/>
            <p:nvPr/>
          </p:nvSpPr>
          <p:spPr>
            <a:xfrm flipH="1">
              <a:off x="5807968" y="6393834"/>
              <a:ext cx="770152" cy="2178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03</a:t>
              </a:r>
              <a:endParaRPr kumimoji="0" lang="zh-CN" altLang="en-US" sz="1100" b="1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39" name="TextBox 103">
              <a:extLst>
                <a:ext uri="{FF2B5EF4-FFF2-40B4-BE49-F238E27FC236}">
                  <a16:creationId xmlns="" xmlns:a16="http://schemas.microsoft.com/office/drawing/2014/main" id="{7B4FDCFA-7A51-4D71-A23F-F17F968EB0B6}"/>
                </a:ext>
              </a:extLst>
            </p:cNvPr>
            <p:cNvSpPr txBox="1"/>
            <p:nvPr/>
          </p:nvSpPr>
          <p:spPr>
            <a:xfrm flipH="1">
              <a:off x="3215679" y="4587801"/>
              <a:ext cx="770152" cy="2178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04</a:t>
              </a:r>
              <a:endParaRPr kumimoji="0" lang="zh-CN" altLang="en-US" sz="1100" b="1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0" name="TextBox 104">
              <a:extLst>
                <a:ext uri="{FF2B5EF4-FFF2-40B4-BE49-F238E27FC236}">
                  <a16:creationId xmlns="" xmlns:a16="http://schemas.microsoft.com/office/drawing/2014/main" id="{E6211669-2AB9-4867-98A8-4EEE3BC85DA7}"/>
                </a:ext>
              </a:extLst>
            </p:cNvPr>
            <p:cNvSpPr txBox="1"/>
            <p:nvPr/>
          </p:nvSpPr>
          <p:spPr>
            <a:xfrm flipH="1">
              <a:off x="3993864" y="1634897"/>
              <a:ext cx="770152" cy="2178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 w="18415" cmpd="sng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"/>
                </a:rPr>
                <a:t>05</a:t>
              </a:r>
              <a:endParaRPr kumimoji="0" lang="zh-CN" altLang="en-US" sz="1100" b="1" i="0" u="none" strike="noStrike" kern="0" cap="none" spc="0" normalizeH="0" baseline="0" noProof="0" dirty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3BD0D2FF-92D6-474E-87CE-1CF6BFE3FDE1}"/>
              </a:ext>
            </a:extLst>
          </p:cNvPr>
          <p:cNvGrpSpPr/>
          <p:nvPr/>
        </p:nvGrpSpPr>
        <p:grpSpPr>
          <a:xfrm>
            <a:off x="8699019" y="1206150"/>
            <a:ext cx="2905606" cy="4989164"/>
            <a:chOff x="8625635" y="1273206"/>
            <a:chExt cx="2978990" cy="4989164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4894C804-11A9-4F91-AB4F-6B516345DAF8}"/>
                </a:ext>
              </a:extLst>
            </p:cNvPr>
            <p:cNvSpPr/>
            <p:nvPr/>
          </p:nvSpPr>
          <p:spPr>
            <a:xfrm>
              <a:off x="8625635" y="1273206"/>
              <a:ext cx="2978990" cy="289539"/>
            </a:xfrm>
            <a:prstGeom prst="rect">
              <a:avLst/>
            </a:prstGeom>
            <a:solidFill>
              <a:srgbClr val="FFBC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altLang="zh-CN" sz="1400" b="1" kern="0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Incident Alert</a:t>
              </a:r>
              <a:endParaRPr lang="zh-CN" altLang="en-US" sz="1400" b="1" kern="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="" xmlns:a16="http://schemas.microsoft.com/office/drawing/2014/main" id="{2D42C9BB-34A2-4BB0-90DB-8C6D35A40A4B}"/>
                </a:ext>
              </a:extLst>
            </p:cNvPr>
            <p:cNvSpPr/>
            <p:nvPr/>
          </p:nvSpPr>
          <p:spPr>
            <a:xfrm>
              <a:off x="8625635" y="1562746"/>
              <a:ext cx="2978989" cy="7918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0" rIns="91440" bIns="91440" rtlCol="0" anchor="ctr"/>
            <a:lstStyle/>
            <a:p>
              <a:pPr defTabSz="685800"/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 group of backdoor attack alerts with extremely similar behaviors appeared. The target of the attack was a hospital website, and each attack source only appeared once during the period.</a:t>
              </a:r>
              <a:endParaRPr lang="zh-CN" altLang="zh-CN" sz="900" kern="100" dirty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="" xmlns:a16="http://schemas.microsoft.com/office/drawing/2014/main" id="{185ECC6D-AB6E-4BCB-8583-F2603C0AFA9A}"/>
                </a:ext>
              </a:extLst>
            </p:cNvPr>
            <p:cNvSpPr/>
            <p:nvPr/>
          </p:nvSpPr>
          <p:spPr>
            <a:xfrm>
              <a:off x="8625635" y="5138068"/>
              <a:ext cx="2978990" cy="289539"/>
            </a:xfrm>
            <a:prstGeom prst="rect">
              <a:avLst/>
            </a:prstGeom>
            <a:solidFill>
              <a:srgbClr val="00C5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en-US" altLang="zh-CN" sz="1400" b="1" kern="0" dirty="0">
                  <a:solidFill>
                    <a:prstClr val="white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lerts &amp; Notification</a:t>
              </a:r>
              <a:endParaRPr lang="zh-CN" altLang="en-US" sz="1400" b="1" kern="0" dirty="0">
                <a:solidFill>
                  <a:prstClr val="white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="" xmlns:a16="http://schemas.microsoft.com/office/drawing/2014/main" id="{0888DADC-E2B7-4BA8-8F47-A5FC02EA50F3}"/>
                </a:ext>
              </a:extLst>
            </p:cNvPr>
            <p:cNvSpPr/>
            <p:nvPr/>
          </p:nvSpPr>
          <p:spPr>
            <a:xfrm>
              <a:off x="8625635" y="5427608"/>
              <a:ext cx="2978989" cy="8347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0" rIns="91440" bIns="91440" rtlCol="0" anchor="ctr"/>
            <a:lstStyle/>
            <a:p>
              <a:pPr defTabSz="685800">
                <a:lnSpc>
                  <a:spcPct val="150000"/>
                </a:lnSpc>
              </a:pP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lert and Notification</a:t>
              </a:r>
            </a:p>
            <a:p>
              <a:pPr algn="l" defTabSz="685800">
                <a:lnSpc>
                  <a:spcPct val="150000"/>
                </a:lnSpc>
              </a:pP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1. </a:t>
              </a: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Send alerts through </a:t>
              </a:r>
              <a:r>
                <a:rPr lang="en-US" altLang="zh-CN" sz="900" kern="100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iSource</a:t>
              </a: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 and over Email</a:t>
              </a:r>
              <a:endParaRPr lang="en-US" altLang="zh-CN" sz="900" kern="100" dirty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  <a:p>
              <a:pPr algn="l" defTabSz="685800">
                <a:lnSpc>
                  <a:spcPct val="150000"/>
                </a:lnSpc>
              </a:pP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2</a:t>
              </a: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. Create a case and assign to security operators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="" xmlns:a16="http://schemas.microsoft.com/office/drawing/2014/main" id="{E5CA48BA-6AEA-4F81-8491-CA9F9EC9A8DB}"/>
                </a:ext>
              </a:extLst>
            </p:cNvPr>
            <p:cNvSpPr/>
            <p:nvPr/>
          </p:nvSpPr>
          <p:spPr>
            <a:xfrm>
              <a:off x="8625635" y="2439640"/>
              <a:ext cx="2978990" cy="28953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altLang="zh-CN" sz="1400" b="1" kern="0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Correlation Analysis</a:t>
              </a:r>
              <a:endParaRPr lang="zh-CN" altLang="en-US" sz="1400" b="1" kern="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="" xmlns:a16="http://schemas.microsoft.com/office/drawing/2014/main" id="{04C3402E-D80D-44A4-9B61-02E34B637859}"/>
                </a:ext>
              </a:extLst>
            </p:cNvPr>
            <p:cNvSpPr/>
            <p:nvPr/>
          </p:nvSpPr>
          <p:spPr>
            <a:xfrm>
              <a:off x="8625635" y="2729180"/>
              <a:ext cx="2978989" cy="23338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0" rIns="91440" bIns="91440" rtlCol="0" anchor="ctr"/>
            <a:lstStyle/>
            <a:p>
              <a:pPr defTabSz="685800">
                <a:lnSpc>
                  <a:spcPct val="150000"/>
                </a:lnSpc>
              </a:pP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Attack source analysis, attack fingerprint analysis, attack feature analysis, attack target analysis, association of the attacker’s behavior with threat intelligence.</a:t>
              </a:r>
            </a:p>
            <a:p>
              <a:pPr defTabSz="685800">
                <a:lnSpc>
                  <a:spcPct val="150000"/>
                </a:lnSpc>
              </a:pP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1. The attack source has botnets, credential-stuffing, etc.;</a:t>
              </a:r>
            </a:p>
            <a:p>
              <a:pPr defTabSz="685800">
                <a:lnSpc>
                  <a:spcPct val="150000"/>
                </a:lnSpc>
              </a:pP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2. The fingerprint feature of the attack source is an IoT device</a:t>
              </a:r>
            </a:p>
            <a:p>
              <a:pPr defTabSz="685800">
                <a:lnSpc>
                  <a:spcPct val="150000"/>
                </a:lnSpc>
              </a:pPr>
              <a:r>
                <a:rPr lang="en-US" altLang="zh-CN" sz="900" kern="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"/>
                </a:rPr>
                <a:t>3. The attack source is a controlled IoT botnet whose IP is located in Hong Kong: XX.XX.XX.*</a:t>
              </a:r>
              <a:endParaRPr lang="zh-CN" altLang="zh-CN" sz="900" kern="100" dirty="0">
                <a:solidFill>
                  <a:srgbClr val="002060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endParaRPr>
            </a:p>
          </p:txBody>
        </p:sp>
      </p:grp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AA685AA8-E8F1-4F9D-B254-B609A0322CC2}"/>
              </a:ext>
            </a:extLst>
          </p:cNvPr>
          <p:cNvSpPr/>
          <p:nvPr/>
        </p:nvSpPr>
        <p:spPr>
          <a:xfrm>
            <a:off x="587694" y="1217580"/>
            <a:ext cx="2905606" cy="28953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altLang="zh-CN" sz="1000" b="1" kern="0" dirty="0">
                <a:solidFill>
                  <a:prstClr val="white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Evidence</a:t>
            </a:r>
            <a:endParaRPr lang="zh-CN" altLang="en-US" sz="1000" b="1" kern="0" dirty="0">
              <a:solidFill>
                <a:prstClr val="white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8F2BF41C-390A-45AE-8B5F-1580C0AA9F12}"/>
              </a:ext>
            </a:extLst>
          </p:cNvPr>
          <p:cNvSpPr/>
          <p:nvPr/>
        </p:nvSpPr>
        <p:spPr>
          <a:xfrm>
            <a:off x="587694" y="1507121"/>
            <a:ext cx="2905605" cy="4352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91440" rtlCol="0" anchor="ctr"/>
          <a:lstStyle/>
          <a:p>
            <a:pPr defTabSz="685800"/>
            <a:r>
              <a:rPr lang="en-US" altLang="zh-CN" sz="900" kern="100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Source of attack, the context, the logical relation among security events.</a:t>
            </a:r>
            <a:endParaRPr lang="zh-CN" altLang="zh-CN" sz="900" kern="100" dirty="0">
              <a:solidFill>
                <a:schemeClr val="tx1"/>
              </a:solidFill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DAC0DF3E-82ED-45DE-9D81-27148E49D301}"/>
              </a:ext>
            </a:extLst>
          </p:cNvPr>
          <p:cNvSpPr/>
          <p:nvPr/>
        </p:nvSpPr>
        <p:spPr>
          <a:xfrm>
            <a:off x="594351" y="4608639"/>
            <a:ext cx="2905606" cy="289539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altLang="zh-CN" sz="1000" kern="0" dirty="0">
                <a:solidFill>
                  <a:prstClr val="white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nteractive Response</a:t>
            </a:r>
            <a:endParaRPr lang="zh-CN" altLang="en-US" sz="1000" kern="0" dirty="0">
              <a:solidFill>
                <a:prstClr val="white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0E3BF3F3-FA84-469D-903F-AED13571CD6A}"/>
              </a:ext>
            </a:extLst>
          </p:cNvPr>
          <p:cNvSpPr/>
          <p:nvPr/>
        </p:nvSpPr>
        <p:spPr>
          <a:xfrm>
            <a:off x="594351" y="4898178"/>
            <a:ext cx="2905605" cy="12971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91440" rtlCol="0" anchor="ctr"/>
          <a:lstStyle/>
          <a:p>
            <a:pPr defTabSz="685800">
              <a:lnSpc>
                <a:spcPct val="150000"/>
              </a:lnSpc>
            </a:pPr>
            <a:r>
              <a:rPr lang="en-US" altLang="zh-CN" sz="900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Interactive response based on the security orchestration:</a:t>
            </a:r>
            <a:endParaRPr lang="en-US" altLang="zh-CN" sz="900" kern="100" dirty="0">
              <a:solidFill>
                <a:schemeClr val="tx1"/>
              </a:solidFill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  <a:p>
            <a:pPr algn="l" defTabSz="685800">
              <a:lnSpc>
                <a:spcPct val="150000"/>
              </a:lnSpc>
            </a:pPr>
            <a:r>
              <a:rPr lang="en-US" altLang="zh-CN" sz="900" kern="100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1. Add the source IP of the attack to the blocked list</a:t>
            </a:r>
          </a:p>
          <a:p>
            <a:pPr algn="l" defTabSz="685800">
              <a:lnSpc>
                <a:spcPct val="150000"/>
              </a:lnSpc>
            </a:pPr>
            <a:r>
              <a:rPr lang="en-US" altLang="zh-CN" sz="900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2. </a:t>
            </a:r>
            <a:r>
              <a:rPr lang="en-US" altLang="zh-CN" sz="900" kern="100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Quarantine the malicious program by interacting with the installed agent on the servers</a:t>
            </a:r>
          </a:p>
          <a:p>
            <a:pPr algn="l" defTabSz="685800">
              <a:lnSpc>
                <a:spcPct val="150000"/>
              </a:lnSpc>
            </a:pPr>
            <a:endParaRPr lang="en-US" altLang="zh-CN" sz="900" kern="100" dirty="0">
              <a:solidFill>
                <a:schemeClr val="tx1"/>
              </a:solidFill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="" xmlns:a16="http://schemas.microsoft.com/office/drawing/2014/main" id="{C1D1EA28-C537-477D-BF34-FAD099BD9BF7}"/>
              </a:ext>
            </a:extLst>
          </p:cNvPr>
          <p:cNvSpPr/>
          <p:nvPr/>
        </p:nvSpPr>
        <p:spPr>
          <a:xfrm>
            <a:off x="587694" y="2032206"/>
            <a:ext cx="2905606" cy="28953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1000" kern="0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cs typeface="+mn-ea"/>
                <a:sym typeface=""/>
              </a:rPr>
              <a:t>Source of attacks</a:t>
            </a:r>
            <a:endParaRPr lang="zh-CN" altLang="en-US" sz="1000" kern="0" dirty="0">
              <a:solidFill>
                <a:schemeClr val="bg1"/>
              </a:solidFill>
              <a:latin typeface=""/>
              <a:ea typeface="微软雅黑" panose="020B0503020204020204" pitchFamily="34" charset="-122"/>
              <a:cs typeface="+mn-ea"/>
              <a:sym typeface="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823AF9A5-B4CD-43E3-8A07-FF3F3AEFB031}"/>
              </a:ext>
            </a:extLst>
          </p:cNvPr>
          <p:cNvSpPr/>
          <p:nvPr/>
        </p:nvSpPr>
        <p:spPr>
          <a:xfrm>
            <a:off x="587694" y="2321747"/>
            <a:ext cx="2905605" cy="4352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91440" rtlCol="0" anchor="ctr"/>
          <a:lstStyle/>
          <a:p>
            <a:pPr algn="just" defTabSz="685800"/>
            <a:r>
              <a:rPr lang="en-US" altLang="zh-CN" sz="900" kern="100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otal attackers and its </a:t>
            </a:r>
            <a:r>
              <a:rPr lang="en-US" altLang="zh-CN" sz="900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distribution</a:t>
            </a:r>
            <a:endParaRPr lang="zh-CN" altLang="zh-CN" sz="900" kern="1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="" xmlns:a16="http://schemas.microsoft.com/office/drawing/2014/main" id="{B880C57F-578C-458D-96EB-B21D58521109}"/>
              </a:ext>
            </a:extLst>
          </p:cNvPr>
          <p:cNvSpPr/>
          <p:nvPr/>
        </p:nvSpPr>
        <p:spPr>
          <a:xfrm>
            <a:off x="593004" y="2849642"/>
            <a:ext cx="2905606" cy="28953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1000" kern="0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cs typeface="+mn-ea"/>
                <a:sym typeface=""/>
              </a:rPr>
              <a:t>Fingerprint</a:t>
            </a:r>
            <a:endParaRPr lang="zh-CN" altLang="en-US" sz="1000" kern="0" dirty="0">
              <a:solidFill>
                <a:schemeClr val="bg1"/>
              </a:solidFill>
              <a:latin typeface=""/>
              <a:ea typeface="微软雅黑" panose="020B0503020204020204" pitchFamily="34" charset="-122"/>
              <a:cs typeface="+mn-ea"/>
              <a:sym typeface="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="" xmlns:a16="http://schemas.microsoft.com/office/drawing/2014/main" id="{5E7A8FD7-9590-484C-B0EA-5B355E127BA8}"/>
              </a:ext>
            </a:extLst>
          </p:cNvPr>
          <p:cNvSpPr/>
          <p:nvPr/>
        </p:nvSpPr>
        <p:spPr>
          <a:xfrm>
            <a:off x="593004" y="3139183"/>
            <a:ext cx="2905605" cy="4352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91440" rtlCol="0" anchor="ctr"/>
          <a:lstStyle/>
          <a:p>
            <a:pPr algn="just" defTabSz="685800">
              <a:lnSpc>
                <a:spcPct val="110000"/>
              </a:lnSpc>
            </a:pPr>
            <a:r>
              <a:rPr lang="en-US" altLang="zh-CN" sz="900" kern="100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The fingerprint of attack tools</a:t>
            </a:r>
            <a:endParaRPr lang="zh-CN" altLang="zh-CN" sz="900" kern="100" dirty="0">
              <a:solidFill>
                <a:schemeClr val="tx1"/>
              </a:solidFill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="" xmlns:a16="http://schemas.microsoft.com/office/drawing/2014/main" id="{2C4288D7-0172-41C6-ABD6-05E5323EB44F}"/>
              </a:ext>
            </a:extLst>
          </p:cNvPr>
          <p:cNvSpPr/>
          <p:nvPr/>
        </p:nvSpPr>
        <p:spPr>
          <a:xfrm>
            <a:off x="593004" y="3718703"/>
            <a:ext cx="2905606" cy="28953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1000" kern="0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cs typeface="+mn-ea"/>
                <a:sym typeface=""/>
              </a:rPr>
              <a:t>Characteristics</a:t>
            </a:r>
            <a:endParaRPr lang="zh-CN" altLang="en-US" sz="1000" kern="0" dirty="0">
              <a:solidFill>
                <a:schemeClr val="bg1"/>
              </a:solidFill>
              <a:latin typeface=""/>
              <a:ea typeface="微软雅黑" panose="020B0503020204020204" pitchFamily="34" charset="-122"/>
              <a:cs typeface="+mn-ea"/>
              <a:sym typeface="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="" xmlns:a16="http://schemas.microsoft.com/office/drawing/2014/main" id="{DC6B40EF-E184-41AA-B8BF-51F25AB6B3DB}"/>
              </a:ext>
            </a:extLst>
          </p:cNvPr>
          <p:cNvSpPr/>
          <p:nvPr/>
        </p:nvSpPr>
        <p:spPr>
          <a:xfrm>
            <a:off x="593004" y="4008244"/>
            <a:ext cx="2905605" cy="4352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91440" rtlCol="0" anchor="ctr"/>
          <a:lstStyle/>
          <a:p>
            <a:r>
              <a:rPr lang="x-non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ack 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</a:t>
            </a:r>
            <a:r>
              <a:rPr lang="x-non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x-non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, target, path</a:t>
            </a:r>
            <a:r>
              <a:rPr lang="x-non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ntent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x-non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r>
              <a:rPr lang="x-non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8476949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Case Studies</a:t>
            </a:r>
            <a:endParaRPr lang="zh-CN" altLang="en-US" dirty="0"/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00209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7" name="直接连接符 86"/>
          <p:cNvCxnSpPr/>
          <p:nvPr/>
        </p:nvCxnSpPr>
        <p:spPr>
          <a:xfrm>
            <a:off x="3123491" y="2322633"/>
            <a:ext cx="1" cy="300426"/>
          </a:xfrm>
          <a:prstGeom prst="line">
            <a:avLst/>
          </a:prstGeom>
          <a:ln w="952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/>
          <p:cNvCxnSpPr/>
          <p:nvPr/>
        </p:nvCxnSpPr>
        <p:spPr>
          <a:xfrm>
            <a:off x="9169637" y="2423885"/>
            <a:ext cx="1" cy="300426"/>
          </a:xfrm>
          <a:prstGeom prst="line">
            <a:avLst/>
          </a:prstGeom>
          <a:ln w="952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rotect </a:t>
            </a:r>
            <a:r>
              <a:rPr lang="en-US" altLang="zh-CN" dirty="0"/>
              <a:t>Critical Business for A National Bank</a:t>
            </a:r>
            <a:endParaRPr lang="zh-CN" altLang="en-US" dirty="0"/>
          </a:p>
        </p:txBody>
      </p:sp>
      <p:sp>
        <p:nvSpPr>
          <p:cNvPr id="192" name="Rectangle: Rounded Corners 2"/>
          <p:cNvSpPr/>
          <p:nvPr/>
        </p:nvSpPr>
        <p:spPr>
          <a:xfrm>
            <a:off x="585337" y="3935759"/>
            <a:ext cx="5331276" cy="419457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bIns="91440" rtlCol="0" anchor="ctr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Pain Points</a:t>
            </a:r>
          </a:p>
        </p:txBody>
      </p:sp>
      <p:sp>
        <p:nvSpPr>
          <p:cNvPr id="193" name="Rectangle: Rounded Corners 2"/>
          <p:cNvSpPr/>
          <p:nvPr/>
        </p:nvSpPr>
        <p:spPr>
          <a:xfrm>
            <a:off x="6311900" y="3935758"/>
            <a:ext cx="5292725" cy="419457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bIns="91440" rtlCol="0" anchor="ctr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llstone Solutions</a:t>
            </a:r>
          </a:p>
        </p:txBody>
      </p:sp>
      <p:sp>
        <p:nvSpPr>
          <p:cNvPr id="194" name="Text Placeholder 3"/>
          <p:cNvSpPr txBox="1"/>
          <p:nvPr/>
        </p:nvSpPr>
        <p:spPr>
          <a:xfrm>
            <a:off x="587376" y="4559133"/>
            <a:ext cx="5329238" cy="11254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solidFill>
                  <a:schemeClr val="bg1"/>
                </a:solidFill>
              </a:rPr>
              <a:t>The customer had perimeter security devices in place, but they faced difficulties in effectively analyzing and mitigating threats within their Intranet </a:t>
            </a:r>
            <a:r>
              <a:rPr lang="en-US" altLang="zh-CN" sz="1200" dirty="0" smtClean="0">
                <a:solidFill>
                  <a:schemeClr val="bg1"/>
                </a:solidFill>
              </a:rPr>
              <a:t>environment;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Although the firewall could detect threats that breached the perimeter, the dynamically assigned IP addresses of endpoints through DHCP made it challenging to identify and locate risky endpoints.</a:t>
            </a:r>
          </a:p>
        </p:txBody>
      </p:sp>
      <p:sp>
        <p:nvSpPr>
          <p:cNvPr id="195" name="Text Placeholder 3"/>
          <p:cNvSpPr txBox="1"/>
          <p:nvPr/>
        </p:nvSpPr>
        <p:spPr>
          <a:xfrm>
            <a:off x="6311900" y="4559133"/>
            <a:ext cx="5329238" cy="17799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100" dirty="0" err="1" smtClean="0">
                <a:solidFill>
                  <a:schemeClr val="bg1"/>
                </a:solidFill>
              </a:rPr>
              <a:t>Hillstone</a:t>
            </a:r>
            <a:r>
              <a:rPr lang="en-US" altLang="zh-CN" sz="1100" dirty="0" smtClean="0">
                <a:solidFill>
                  <a:schemeClr val="bg1"/>
                </a:solidFill>
              </a:rPr>
              <a:t> BDS(Breach </a:t>
            </a:r>
            <a:r>
              <a:rPr lang="en-US" altLang="zh-CN" sz="1100" dirty="0">
                <a:solidFill>
                  <a:schemeClr val="bg1"/>
                </a:solidFill>
              </a:rPr>
              <a:t>Detection System) </a:t>
            </a:r>
            <a:r>
              <a:rPr lang="en-US" altLang="zh-CN" sz="1100" dirty="0" smtClean="0">
                <a:solidFill>
                  <a:schemeClr val="bg1"/>
                </a:solidFill>
              </a:rPr>
              <a:t>was </a:t>
            </a:r>
            <a:r>
              <a:rPr lang="en-US" altLang="zh-CN" sz="1100" dirty="0">
                <a:solidFill>
                  <a:schemeClr val="bg1"/>
                </a:solidFill>
              </a:rPr>
              <a:t>employed to mirror network traffic, actively scanning for threats within the intranet. It captured relevant asset information, threat logs, metadata, and </a:t>
            </a:r>
            <a:r>
              <a:rPr lang="en-US" altLang="zh-CN" sz="1100" dirty="0" err="1">
                <a:solidFill>
                  <a:schemeClr val="bg1"/>
                </a:solidFill>
              </a:rPr>
              <a:t>netflow</a:t>
            </a:r>
            <a:r>
              <a:rPr lang="en-US" altLang="zh-CN" sz="1100" dirty="0">
                <a:solidFill>
                  <a:schemeClr val="bg1"/>
                </a:solidFill>
              </a:rPr>
              <a:t> data, which were then forwarded to the </a:t>
            </a:r>
            <a:r>
              <a:rPr lang="en-US" altLang="zh-CN" sz="1100" dirty="0" err="1">
                <a:solidFill>
                  <a:schemeClr val="bg1"/>
                </a:solidFill>
              </a:rPr>
              <a:t>iSource</a:t>
            </a:r>
            <a:r>
              <a:rPr lang="en-US" altLang="zh-CN" sz="1100" dirty="0">
                <a:solidFill>
                  <a:schemeClr val="bg1"/>
                </a:solidFill>
              </a:rPr>
              <a:t> platform for further </a:t>
            </a:r>
            <a:r>
              <a:rPr lang="en-US" altLang="zh-CN" sz="1100" dirty="0" smtClean="0">
                <a:solidFill>
                  <a:schemeClr val="bg1"/>
                </a:solidFill>
              </a:rPr>
              <a:t>analysis;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EDR was deployed on endpoints to </a:t>
            </a:r>
            <a:r>
              <a:rPr lang="en-US" altLang="zh-CN" sz="1100" dirty="0" smtClean="0">
                <a:solidFill>
                  <a:schemeClr val="bg1"/>
                </a:solidFill>
              </a:rPr>
              <a:t>collect </a:t>
            </a:r>
            <a:r>
              <a:rPr lang="en-US" altLang="zh-CN" sz="1100" dirty="0">
                <a:solidFill>
                  <a:schemeClr val="bg1"/>
                </a:solidFill>
              </a:rPr>
              <a:t>asset information and threat logs, which </a:t>
            </a:r>
            <a:r>
              <a:rPr lang="en-US" altLang="zh-CN" sz="1100" dirty="0" smtClean="0">
                <a:solidFill>
                  <a:schemeClr val="bg1"/>
                </a:solidFill>
              </a:rPr>
              <a:t>enabled 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iSource</a:t>
            </a:r>
            <a:r>
              <a:rPr lang="en-US" altLang="zh-CN" sz="1100" dirty="0" smtClean="0">
                <a:solidFill>
                  <a:schemeClr val="bg1"/>
                </a:solidFill>
              </a:rPr>
              <a:t> to conduct </a:t>
            </a:r>
            <a:r>
              <a:rPr lang="en-US" altLang="zh-CN" sz="1100" dirty="0">
                <a:solidFill>
                  <a:schemeClr val="bg1"/>
                </a:solidFill>
              </a:rPr>
              <a:t>baseline inspection, antivirus scans, and other necessary assessments on the endpoint </a:t>
            </a:r>
            <a:r>
              <a:rPr lang="en-US" altLang="zh-CN" sz="1100" dirty="0" smtClean="0">
                <a:solidFill>
                  <a:schemeClr val="bg1"/>
                </a:solidFill>
              </a:rPr>
              <a:t>data;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 err="1">
                <a:solidFill>
                  <a:schemeClr val="bg1"/>
                </a:solidFill>
              </a:rPr>
              <a:t>Hillstone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iSource</a:t>
            </a:r>
            <a:r>
              <a:rPr lang="en-US" altLang="zh-CN" sz="1100" dirty="0">
                <a:solidFill>
                  <a:schemeClr val="bg1"/>
                </a:solidFill>
              </a:rPr>
              <a:t> efficiently detected and responded to hidden and sophisticated threats by correlating data from firewalls, BDS, and EDR, </a:t>
            </a:r>
            <a:r>
              <a:rPr lang="en-US" altLang="zh-CN" sz="1100" dirty="0" smtClean="0">
                <a:solidFill>
                  <a:schemeClr val="bg1"/>
                </a:solidFill>
              </a:rPr>
              <a:t>and utilizing its </a:t>
            </a:r>
            <a:r>
              <a:rPr lang="en-US" altLang="zh-CN" sz="1100" dirty="0">
                <a:solidFill>
                  <a:schemeClr val="bg1"/>
                </a:solidFill>
              </a:rPr>
              <a:t>automated incident response capabilities.</a:t>
            </a:r>
          </a:p>
        </p:txBody>
      </p:sp>
      <p:cxnSp>
        <p:nvCxnSpPr>
          <p:cNvPr id="217" name="肘形连接符 216"/>
          <p:cNvCxnSpPr/>
          <p:nvPr/>
        </p:nvCxnSpPr>
        <p:spPr>
          <a:xfrm rot="5400000">
            <a:off x="8849355" y="2905400"/>
            <a:ext cx="347131" cy="293434"/>
          </a:xfrm>
          <a:prstGeom prst="bentConnector3">
            <a:avLst>
              <a:gd name="adj1" fmla="val 50000"/>
            </a:avLst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24" name="图片 2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3001" y="2532559"/>
            <a:ext cx="394908" cy="396079"/>
          </a:xfrm>
          <a:prstGeom prst="rect">
            <a:avLst/>
          </a:prstGeom>
        </p:spPr>
      </p:pic>
      <p:sp>
        <p:nvSpPr>
          <p:cNvPr id="225" name="圆角矩形 224"/>
          <p:cNvSpPr/>
          <p:nvPr/>
        </p:nvSpPr>
        <p:spPr>
          <a:xfrm>
            <a:off x="7994778" y="3218665"/>
            <a:ext cx="1076296" cy="451713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26" name="圆角矩形 225"/>
          <p:cNvSpPr/>
          <p:nvPr/>
        </p:nvSpPr>
        <p:spPr>
          <a:xfrm>
            <a:off x="9216249" y="3235142"/>
            <a:ext cx="1185299" cy="438802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27" name="图片 2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2720" y="3328082"/>
            <a:ext cx="258702" cy="258702"/>
          </a:xfrm>
          <a:prstGeom prst="rect">
            <a:avLst/>
          </a:prstGeom>
        </p:spPr>
      </p:pic>
      <p:pic>
        <p:nvPicPr>
          <p:cNvPr id="228" name="图片 2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07300" y="3307374"/>
            <a:ext cx="290592" cy="290592"/>
          </a:xfrm>
          <a:prstGeom prst="rect">
            <a:avLst/>
          </a:prstGeom>
        </p:spPr>
      </p:pic>
      <p:pic>
        <p:nvPicPr>
          <p:cNvPr id="229" name="图片 2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3312" y="3328082"/>
            <a:ext cx="258702" cy="258702"/>
          </a:xfrm>
          <a:prstGeom prst="rect">
            <a:avLst/>
          </a:prstGeom>
        </p:spPr>
      </p:pic>
      <p:pic>
        <p:nvPicPr>
          <p:cNvPr id="230" name="图片 2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24568" y="3328082"/>
            <a:ext cx="258702" cy="258702"/>
          </a:xfrm>
          <a:prstGeom prst="rect">
            <a:avLst/>
          </a:prstGeom>
        </p:spPr>
      </p:pic>
      <p:pic>
        <p:nvPicPr>
          <p:cNvPr id="231" name="图片 2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74476" y="3314220"/>
            <a:ext cx="290592" cy="290592"/>
          </a:xfrm>
          <a:prstGeom prst="rect">
            <a:avLst/>
          </a:prstGeom>
        </p:spPr>
      </p:pic>
      <p:pic>
        <p:nvPicPr>
          <p:cNvPr id="232" name="图片 2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1452" y="3307374"/>
            <a:ext cx="290592" cy="290592"/>
          </a:xfrm>
          <a:prstGeom prst="rect">
            <a:avLst/>
          </a:prstGeom>
        </p:spPr>
      </p:pic>
      <p:grpSp>
        <p:nvGrpSpPr>
          <p:cNvPr id="266" name="组合 265"/>
          <p:cNvGrpSpPr/>
          <p:nvPr/>
        </p:nvGrpSpPr>
        <p:grpSpPr>
          <a:xfrm>
            <a:off x="9171272" y="3041640"/>
            <a:ext cx="289460" cy="190993"/>
            <a:chOff x="9171272" y="3041640"/>
            <a:chExt cx="289460" cy="190993"/>
          </a:xfrm>
        </p:grpSpPr>
        <p:cxnSp>
          <p:nvCxnSpPr>
            <p:cNvPr id="233" name="直接连接符 232"/>
            <p:cNvCxnSpPr/>
            <p:nvPr/>
          </p:nvCxnSpPr>
          <p:spPr>
            <a:xfrm>
              <a:off x="9171272" y="3051165"/>
              <a:ext cx="28946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直接连接符 233"/>
            <p:cNvCxnSpPr/>
            <p:nvPr/>
          </p:nvCxnSpPr>
          <p:spPr>
            <a:xfrm>
              <a:off x="9458827" y="3041640"/>
              <a:ext cx="0" cy="190993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5" name="矩形 234"/>
          <p:cNvSpPr/>
          <p:nvPr/>
        </p:nvSpPr>
        <p:spPr>
          <a:xfrm>
            <a:off x="7953250" y="2607882"/>
            <a:ext cx="10805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Core Rout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36" name="矩形 235"/>
          <p:cNvSpPr/>
          <p:nvPr/>
        </p:nvSpPr>
        <p:spPr>
          <a:xfrm>
            <a:off x="7982375" y="3641532"/>
            <a:ext cx="10805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Serv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37" name="矩形 236"/>
          <p:cNvSpPr/>
          <p:nvPr/>
        </p:nvSpPr>
        <p:spPr>
          <a:xfrm>
            <a:off x="9279484" y="3641532"/>
            <a:ext cx="1080576" cy="2616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End Point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238" name="图片 23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528" y="2790918"/>
            <a:ext cx="452129" cy="395627"/>
          </a:xfrm>
          <a:prstGeom prst="rect">
            <a:avLst/>
          </a:prstGeom>
        </p:spPr>
      </p:pic>
      <p:sp>
        <p:nvSpPr>
          <p:cNvPr id="239" name="文本框 238"/>
          <p:cNvSpPr txBox="1"/>
          <p:nvPr/>
        </p:nvSpPr>
        <p:spPr>
          <a:xfrm>
            <a:off x="6932628" y="3133567"/>
            <a:ext cx="1337945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iSource</a:t>
            </a:r>
            <a:br>
              <a:rPr lang="en-US" altLang="zh-CN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</a:br>
            <a:r>
              <a:rPr lang="zh-CN" altLang="en-US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（</a:t>
            </a:r>
            <a:r>
              <a:rPr lang="en-US" altLang="zh-CN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XDR</a:t>
            </a:r>
            <a:r>
              <a:rPr lang="zh-CN" altLang="en-US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）</a:t>
            </a:r>
            <a:endParaRPr lang="en-US" altLang="zh-CN" sz="10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pic>
        <p:nvPicPr>
          <p:cNvPr id="240" name="图片 2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5904" y="2894107"/>
            <a:ext cx="673219" cy="173919"/>
          </a:xfrm>
          <a:prstGeom prst="rect">
            <a:avLst/>
          </a:prstGeom>
        </p:spPr>
      </p:pic>
      <p:sp>
        <p:nvSpPr>
          <p:cNvPr id="241" name="文本框 240"/>
          <p:cNvSpPr txBox="1"/>
          <p:nvPr/>
        </p:nvSpPr>
        <p:spPr>
          <a:xfrm>
            <a:off x="9830310" y="2776735"/>
            <a:ext cx="1337945" cy="2616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050" b="1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BDS</a:t>
            </a:r>
            <a:endParaRPr lang="en-US" altLang="zh-CN" sz="105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grpSp>
        <p:nvGrpSpPr>
          <p:cNvPr id="248" name="组合 247"/>
          <p:cNvGrpSpPr/>
          <p:nvPr/>
        </p:nvGrpSpPr>
        <p:grpSpPr>
          <a:xfrm>
            <a:off x="9289716" y="3343254"/>
            <a:ext cx="342033" cy="211662"/>
            <a:chOff x="9260713" y="3336497"/>
            <a:chExt cx="388620" cy="241300"/>
          </a:xfrm>
        </p:grpSpPr>
        <p:pic>
          <p:nvPicPr>
            <p:cNvPr id="247" name="Picture 167"/>
            <p:cNvPicPr>
              <a:picLocks noChangeAspect="1"/>
            </p:cNvPicPr>
            <p:nvPr/>
          </p:nvPicPr>
          <p:blipFill>
            <a:blip r:embed="rId7" cstate="email"/>
            <a:stretch>
              <a:fillRect/>
            </a:stretch>
          </p:blipFill>
          <p:spPr>
            <a:xfrm>
              <a:off x="9344349" y="3336497"/>
              <a:ext cx="226695" cy="241300"/>
            </a:xfrm>
            <a:prstGeom prst="rect">
              <a:avLst/>
            </a:prstGeom>
          </p:spPr>
        </p:pic>
        <p:sp>
          <p:nvSpPr>
            <p:cNvPr id="246" name="文本框 245"/>
            <p:cNvSpPr txBox="1"/>
            <p:nvPr/>
          </p:nvSpPr>
          <p:spPr>
            <a:xfrm>
              <a:off x="9260713" y="3359185"/>
              <a:ext cx="388620" cy="175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00" b="1" dirty="0" err="1"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EDR</a:t>
              </a:r>
              <a:endParaRPr lang="en-US" altLang="zh-CN" sz="400" b="1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49" name="组合 248"/>
          <p:cNvGrpSpPr/>
          <p:nvPr/>
        </p:nvGrpSpPr>
        <p:grpSpPr>
          <a:xfrm>
            <a:off x="9648755" y="3335801"/>
            <a:ext cx="342033" cy="211662"/>
            <a:chOff x="9260713" y="3336497"/>
            <a:chExt cx="388620" cy="241300"/>
          </a:xfrm>
        </p:grpSpPr>
        <p:pic>
          <p:nvPicPr>
            <p:cNvPr id="250" name="Picture 167"/>
            <p:cNvPicPr>
              <a:picLocks noChangeAspect="1"/>
            </p:cNvPicPr>
            <p:nvPr/>
          </p:nvPicPr>
          <p:blipFill>
            <a:blip r:embed="rId7" cstate="email"/>
            <a:stretch>
              <a:fillRect/>
            </a:stretch>
          </p:blipFill>
          <p:spPr>
            <a:xfrm>
              <a:off x="9344349" y="3336497"/>
              <a:ext cx="226695" cy="241300"/>
            </a:xfrm>
            <a:prstGeom prst="rect">
              <a:avLst/>
            </a:prstGeom>
          </p:spPr>
        </p:pic>
        <p:sp>
          <p:nvSpPr>
            <p:cNvPr id="251" name="文本框 250"/>
            <p:cNvSpPr txBox="1"/>
            <p:nvPr/>
          </p:nvSpPr>
          <p:spPr>
            <a:xfrm>
              <a:off x="9260713" y="3359185"/>
              <a:ext cx="388620" cy="175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00" b="1" dirty="0" err="1"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EDR</a:t>
              </a:r>
              <a:endParaRPr lang="en-US" altLang="zh-CN" sz="400" b="1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52" name="组合 251"/>
          <p:cNvGrpSpPr/>
          <p:nvPr/>
        </p:nvGrpSpPr>
        <p:grpSpPr>
          <a:xfrm>
            <a:off x="10005731" y="3344373"/>
            <a:ext cx="342033" cy="211662"/>
            <a:chOff x="9260713" y="3336497"/>
            <a:chExt cx="388620" cy="241300"/>
          </a:xfrm>
        </p:grpSpPr>
        <p:pic>
          <p:nvPicPr>
            <p:cNvPr id="253" name="Picture 167"/>
            <p:cNvPicPr>
              <a:picLocks noChangeAspect="1"/>
            </p:cNvPicPr>
            <p:nvPr/>
          </p:nvPicPr>
          <p:blipFill>
            <a:blip r:embed="rId7" cstate="email"/>
            <a:stretch>
              <a:fillRect/>
            </a:stretch>
          </p:blipFill>
          <p:spPr>
            <a:xfrm>
              <a:off x="9344349" y="3336497"/>
              <a:ext cx="226695" cy="241300"/>
            </a:xfrm>
            <a:prstGeom prst="rect">
              <a:avLst/>
            </a:prstGeom>
          </p:spPr>
        </p:pic>
        <p:sp>
          <p:nvSpPr>
            <p:cNvPr id="254" name="文本框 253"/>
            <p:cNvSpPr txBox="1"/>
            <p:nvPr/>
          </p:nvSpPr>
          <p:spPr>
            <a:xfrm>
              <a:off x="9260713" y="3359185"/>
              <a:ext cx="388620" cy="175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00" b="1" dirty="0" err="1"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EDR</a:t>
              </a:r>
              <a:endParaRPr lang="en-US" altLang="zh-CN" sz="400" b="1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cxnSp>
        <p:nvCxnSpPr>
          <p:cNvPr id="255" name="肘形连接符 254"/>
          <p:cNvCxnSpPr>
            <a:endCxn id="238" idx="0"/>
          </p:cNvCxnSpPr>
          <p:nvPr/>
        </p:nvCxnSpPr>
        <p:spPr>
          <a:xfrm rot="10800000" flipV="1">
            <a:off x="7568594" y="2264110"/>
            <a:ext cx="1202223" cy="526808"/>
          </a:xfrm>
          <a:prstGeom prst="bentConnector2">
            <a:avLst/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7" name="肘形连接符 256"/>
          <p:cNvCxnSpPr>
            <a:endCxn id="218" idx="1"/>
          </p:cNvCxnSpPr>
          <p:nvPr/>
        </p:nvCxnSpPr>
        <p:spPr>
          <a:xfrm flipV="1">
            <a:off x="7763307" y="2302540"/>
            <a:ext cx="977075" cy="548631"/>
          </a:xfrm>
          <a:prstGeom prst="bentConnector3">
            <a:avLst>
              <a:gd name="adj1" fmla="val 50000"/>
            </a:avLst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2" name="肘形连接符 271"/>
          <p:cNvCxnSpPr/>
          <p:nvPr/>
        </p:nvCxnSpPr>
        <p:spPr>
          <a:xfrm rot="5400000">
            <a:off x="2808187" y="2905400"/>
            <a:ext cx="347131" cy="293434"/>
          </a:xfrm>
          <a:prstGeom prst="bentConnector3">
            <a:avLst>
              <a:gd name="adj1" fmla="val 50000"/>
            </a:avLst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接连接符 273"/>
          <p:cNvCxnSpPr/>
          <p:nvPr/>
        </p:nvCxnSpPr>
        <p:spPr>
          <a:xfrm>
            <a:off x="3130104" y="1850177"/>
            <a:ext cx="1" cy="300426"/>
          </a:xfrm>
          <a:prstGeom prst="line">
            <a:avLst/>
          </a:prstGeom>
          <a:ln w="952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9" name="图片 27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1833" y="2532559"/>
            <a:ext cx="394908" cy="396079"/>
          </a:xfrm>
          <a:prstGeom prst="rect">
            <a:avLst/>
          </a:prstGeom>
        </p:spPr>
      </p:pic>
      <p:sp>
        <p:nvSpPr>
          <p:cNvPr id="280" name="圆角矩形 279"/>
          <p:cNvSpPr/>
          <p:nvPr/>
        </p:nvSpPr>
        <p:spPr>
          <a:xfrm>
            <a:off x="1953610" y="3218665"/>
            <a:ext cx="1076296" cy="451713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81" name="圆角矩形 280"/>
          <p:cNvSpPr/>
          <p:nvPr/>
        </p:nvSpPr>
        <p:spPr>
          <a:xfrm>
            <a:off x="3175081" y="3235142"/>
            <a:ext cx="1185299" cy="438802"/>
          </a:xfrm>
          <a:prstGeom prst="roundRect">
            <a:avLst/>
          </a:prstGeom>
          <a:noFill/>
          <a:ln w="190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82" name="图片 2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1552" y="3328082"/>
            <a:ext cx="258702" cy="258702"/>
          </a:xfrm>
          <a:prstGeom prst="rect">
            <a:avLst/>
          </a:prstGeom>
        </p:spPr>
      </p:pic>
      <p:pic>
        <p:nvPicPr>
          <p:cNvPr id="283" name="图片 28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6132" y="3307374"/>
            <a:ext cx="290592" cy="290592"/>
          </a:xfrm>
          <a:prstGeom prst="rect">
            <a:avLst/>
          </a:prstGeom>
        </p:spPr>
      </p:pic>
      <p:pic>
        <p:nvPicPr>
          <p:cNvPr id="284" name="图片 28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2144" y="3328082"/>
            <a:ext cx="258702" cy="258702"/>
          </a:xfrm>
          <a:prstGeom prst="rect">
            <a:avLst/>
          </a:prstGeom>
        </p:spPr>
      </p:pic>
      <p:pic>
        <p:nvPicPr>
          <p:cNvPr id="285" name="图片 2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3400" y="3328082"/>
            <a:ext cx="258702" cy="258702"/>
          </a:xfrm>
          <a:prstGeom prst="rect">
            <a:avLst/>
          </a:prstGeom>
        </p:spPr>
      </p:pic>
      <p:pic>
        <p:nvPicPr>
          <p:cNvPr id="286" name="图片 28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3308" y="3314220"/>
            <a:ext cx="290592" cy="290592"/>
          </a:xfrm>
          <a:prstGeom prst="rect">
            <a:avLst/>
          </a:prstGeom>
        </p:spPr>
      </p:pic>
      <p:pic>
        <p:nvPicPr>
          <p:cNvPr id="287" name="图片 28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0284" y="3307374"/>
            <a:ext cx="290592" cy="290592"/>
          </a:xfrm>
          <a:prstGeom prst="rect">
            <a:avLst/>
          </a:prstGeom>
        </p:spPr>
      </p:pic>
      <p:grpSp>
        <p:nvGrpSpPr>
          <p:cNvPr id="288" name="组合 287"/>
          <p:cNvGrpSpPr/>
          <p:nvPr/>
        </p:nvGrpSpPr>
        <p:grpSpPr>
          <a:xfrm>
            <a:off x="3130104" y="3041640"/>
            <a:ext cx="289460" cy="190993"/>
            <a:chOff x="9171272" y="3041640"/>
            <a:chExt cx="289460" cy="190993"/>
          </a:xfrm>
        </p:grpSpPr>
        <p:cxnSp>
          <p:nvCxnSpPr>
            <p:cNvPr id="289" name="直接连接符 288"/>
            <p:cNvCxnSpPr/>
            <p:nvPr/>
          </p:nvCxnSpPr>
          <p:spPr>
            <a:xfrm>
              <a:off x="9171272" y="3051165"/>
              <a:ext cx="28946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直接连接符 289"/>
            <p:cNvCxnSpPr/>
            <p:nvPr/>
          </p:nvCxnSpPr>
          <p:spPr>
            <a:xfrm>
              <a:off x="9458827" y="3041640"/>
              <a:ext cx="0" cy="190993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1" name="矩形 290"/>
          <p:cNvSpPr/>
          <p:nvPr/>
        </p:nvSpPr>
        <p:spPr>
          <a:xfrm>
            <a:off x="1912082" y="2607882"/>
            <a:ext cx="10805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Core Rout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92" name="矩形 291"/>
          <p:cNvSpPr/>
          <p:nvPr/>
        </p:nvSpPr>
        <p:spPr>
          <a:xfrm>
            <a:off x="1941207" y="3641532"/>
            <a:ext cx="10805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Serv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93" name="矩形 292"/>
          <p:cNvSpPr/>
          <p:nvPr/>
        </p:nvSpPr>
        <p:spPr>
          <a:xfrm>
            <a:off x="3238316" y="3641532"/>
            <a:ext cx="10805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End Point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grpSp>
        <p:nvGrpSpPr>
          <p:cNvPr id="298" name="组合 297"/>
          <p:cNvGrpSpPr/>
          <p:nvPr/>
        </p:nvGrpSpPr>
        <p:grpSpPr>
          <a:xfrm>
            <a:off x="3248548" y="3343254"/>
            <a:ext cx="342033" cy="211662"/>
            <a:chOff x="9260713" y="3336497"/>
            <a:chExt cx="388620" cy="241300"/>
          </a:xfrm>
        </p:grpSpPr>
        <p:pic>
          <p:nvPicPr>
            <p:cNvPr id="299" name="Picture 167"/>
            <p:cNvPicPr>
              <a:picLocks noChangeAspect="1"/>
            </p:cNvPicPr>
            <p:nvPr/>
          </p:nvPicPr>
          <p:blipFill>
            <a:blip r:embed="rId7" cstate="email"/>
            <a:stretch>
              <a:fillRect/>
            </a:stretch>
          </p:blipFill>
          <p:spPr>
            <a:xfrm>
              <a:off x="9344349" y="3336497"/>
              <a:ext cx="226695" cy="241300"/>
            </a:xfrm>
            <a:prstGeom prst="rect">
              <a:avLst/>
            </a:prstGeom>
          </p:spPr>
        </p:pic>
        <p:sp>
          <p:nvSpPr>
            <p:cNvPr id="300" name="文本框 299"/>
            <p:cNvSpPr txBox="1"/>
            <p:nvPr/>
          </p:nvSpPr>
          <p:spPr>
            <a:xfrm>
              <a:off x="9260713" y="3359185"/>
              <a:ext cx="388620" cy="175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00" b="1" dirty="0" err="1"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EDR</a:t>
              </a:r>
              <a:endParaRPr lang="en-US" altLang="zh-CN" sz="400" b="1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01" name="组合 300"/>
          <p:cNvGrpSpPr/>
          <p:nvPr/>
        </p:nvGrpSpPr>
        <p:grpSpPr>
          <a:xfrm>
            <a:off x="3607587" y="3335801"/>
            <a:ext cx="342033" cy="211662"/>
            <a:chOff x="9260713" y="3336497"/>
            <a:chExt cx="388620" cy="241300"/>
          </a:xfrm>
        </p:grpSpPr>
        <p:pic>
          <p:nvPicPr>
            <p:cNvPr id="302" name="Picture 167"/>
            <p:cNvPicPr>
              <a:picLocks noChangeAspect="1"/>
            </p:cNvPicPr>
            <p:nvPr/>
          </p:nvPicPr>
          <p:blipFill>
            <a:blip r:embed="rId7" cstate="email"/>
            <a:stretch>
              <a:fillRect/>
            </a:stretch>
          </p:blipFill>
          <p:spPr>
            <a:xfrm>
              <a:off x="9344349" y="3336497"/>
              <a:ext cx="226695" cy="241300"/>
            </a:xfrm>
            <a:prstGeom prst="rect">
              <a:avLst/>
            </a:prstGeom>
          </p:spPr>
        </p:pic>
        <p:sp>
          <p:nvSpPr>
            <p:cNvPr id="303" name="文本框 302"/>
            <p:cNvSpPr txBox="1"/>
            <p:nvPr/>
          </p:nvSpPr>
          <p:spPr>
            <a:xfrm>
              <a:off x="9260713" y="3359185"/>
              <a:ext cx="388620" cy="175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00" b="1" dirty="0" err="1"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EDR</a:t>
              </a:r>
              <a:endParaRPr lang="en-US" altLang="zh-CN" sz="400" b="1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04" name="组合 303"/>
          <p:cNvGrpSpPr/>
          <p:nvPr/>
        </p:nvGrpSpPr>
        <p:grpSpPr>
          <a:xfrm>
            <a:off x="3964563" y="3344373"/>
            <a:ext cx="342033" cy="211662"/>
            <a:chOff x="9260713" y="3336497"/>
            <a:chExt cx="388620" cy="241300"/>
          </a:xfrm>
        </p:grpSpPr>
        <p:pic>
          <p:nvPicPr>
            <p:cNvPr id="305" name="Picture 167"/>
            <p:cNvPicPr>
              <a:picLocks noChangeAspect="1"/>
            </p:cNvPicPr>
            <p:nvPr/>
          </p:nvPicPr>
          <p:blipFill>
            <a:blip r:embed="rId7" cstate="email"/>
            <a:stretch>
              <a:fillRect/>
            </a:stretch>
          </p:blipFill>
          <p:spPr>
            <a:xfrm>
              <a:off x="9344349" y="3336497"/>
              <a:ext cx="226695" cy="241300"/>
            </a:xfrm>
            <a:prstGeom prst="rect">
              <a:avLst/>
            </a:prstGeom>
          </p:spPr>
        </p:pic>
        <p:sp>
          <p:nvSpPr>
            <p:cNvPr id="306" name="文本框 305"/>
            <p:cNvSpPr txBox="1"/>
            <p:nvPr/>
          </p:nvSpPr>
          <p:spPr>
            <a:xfrm>
              <a:off x="9260713" y="3359185"/>
              <a:ext cx="388620" cy="175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00" b="1" dirty="0" err="1"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EDR</a:t>
              </a:r>
              <a:endParaRPr lang="en-US" altLang="zh-CN" sz="400" b="1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cxnSp>
        <p:nvCxnSpPr>
          <p:cNvPr id="309" name="直接箭头连接符 308"/>
          <p:cNvCxnSpPr>
            <a:endCxn id="240" idx="1"/>
          </p:cNvCxnSpPr>
          <p:nvPr/>
        </p:nvCxnSpPr>
        <p:spPr>
          <a:xfrm>
            <a:off x="9179999" y="2981067"/>
            <a:ext cx="965905" cy="0"/>
          </a:xfrm>
          <a:prstGeom prst="straightConnector1">
            <a:avLst/>
          </a:prstGeom>
          <a:ln>
            <a:solidFill>
              <a:srgbClr val="888383"/>
            </a:solidFill>
            <a:prstDash val="sys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1" name="肘形连接符 310"/>
          <p:cNvCxnSpPr/>
          <p:nvPr/>
        </p:nvCxnSpPr>
        <p:spPr>
          <a:xfrm rot="5400000">
            <a:off x="9063167" y="1655915"/>
            <a:ext cx="15812" cy="2856419"/>
          </a:xfrm>
          <a:prstGeom prst="bentConnector2">
            <a:avLst/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3" name="肘形连接符 312"/>
          <p:cNvCxnSpPr>
            <a:stCxn id="238" idx="3"/>
            <a:endCxn id="231" idx="2"/>
          </p:cNvCxnSpPr>
          <p:nvPr/>
        </p:nvCxnSpPr>
        <p:spPr>
          <a:xfrm>
            <a:off x="7794657" y="2988732"/>
            <a:ext cx="2025115" cy="616080"/>
          </a:xfrm>
          <a:prstGeom prst="bentConnector4">
            <a:avLst>
              <a:gd name="adj1" fmla="val 46413"/>
              <a:gd name="adj2" fmla="val 137106"/>
            </a:avLst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9" name="肘形连接符 318"/>
          <p:cNvCxnSpPr/>
          <p:nvPr/>
        </p:nvCxnSpPr>
        <p:spPr>
          <a:xfrm rot="5400000" flipH="1">
            <a:off x="8297650" y="2407204"/>
            <a:ext cx="411421" cy="1884003"/>
          </a:xfrm>
          <a:prstGeom prst="bentConnector3">
            <a:avLst>
              <a:gd name="adj1" fmla="val -55564"/>
            </a:avLst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1" name="右箭头 80"/>
          <p:cNvSpPr/>
          <p:nvPr/>
        </p:nvSpPr>
        <p:spPr>
          <a:xfrm>
            <a:off x="5565140" y="2617691"/>
            <a:ext cx="702945" cy="26289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82" name="图片 8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265" y="1652373"/>
            <a:ext cx="1065631" cy="413496"/>
          </a:xfrm>
          <a:prstGeom prst="rect">
            <a:avLst/>
          </a:prstGeom>
        </p:spPr>
      </p:pic>
      <p:sp>
        <p:nvSpPr>
          <p:cNvPr id="83" name="矩形 82"/>
          <p:cNvSpPr/>
          <p:nvPr/>
        </p:nvSpPr>
        <p:spPr>
          <a:xfrm>
            <a:off x="2739047" y="1732186"/>
            <a:ext cx="88843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Internet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273" name="图片 27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9306" y="2149488"/>
            <a:ext cx="908373" cy="295165"/>
          </a:xfrm>
          <a:prstGeom prst="rect">
            <a:avLst/>
          </a:prstGeom>
        </p:spPr>
      </p:pic>
      <p:sp>
        <p:nvSpPr>
          <p:cNvPr id="275" name="TextBox 74_1"/>
          <p:cNvSpPr txBox="1"/>
          <p:nvPr/>
        </p:nvSpPr>
        <p:spPr>
          <a:xfrm>
            <a:off x="2686304" y="2118361"/>
            <a:ext cx="8998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8" name="直接连接符 87"/>
          <p:cNvCxnSpPr/>
          <p:nvPr/>
        </p:nvCxnSpPr>
        <p:spPr>
          <a:xfrm>
            <a:off x="9154558" y="2001949"/>
            <a:ext cx="1" cy="300426"/>
          </a:xfrm>
          <a:prstGeom prst="line">
            <a:avLst/>
          </a:prstGeom>
          <a:ln w="952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图片 8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026" y="1676078"/>
            <a:ext cx="1065631" cy="413496"/>
          </a:xfrm>
          <a:prstGeom prst="rect">
            <a:avLst/>
          </a:prstGeom>
        </p:spPr>
      </p:pic>
      <p:sp>
        <p:nvSpPr>
          <p:cNvPr id="85" name="矩形 84"/>
          <p:cNvSpPr/>
          <p:nvPr/>
        </p:nvSpPr>
        <p:spPr>
          <a:xfrm>
            <a:off x="8778630" y="1747063"/>
            <a:ext cx="88843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Internet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218" name="图片 2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0382" y="2154957"/>
            <a:ext cx="908373" cy="295165"/>
          </a:xfrm>
          <a:prstGeom prst="rect">
            <a:avLst/>
          </a:prstGeom>
        </p:spPr>
      </p:pic>
      <p:sp>
        <p:nvSpPr>
          <p:cNvPr id="220" name="TextBox 74_1"/>
          <p:cNvSpPr txBox="1"/>
          <p:nvPr/>
        </p:nvSpPr>
        <p:spPr>
          <a:xfrm>
            <a:off x="8719701" y="2149096"/>
            <a:ext cx="8998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158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Key Problems In Security Operation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899E4131-A116-4AC7-B9DB-72828A07F660}"/>
              </a:ext>
            </a:extLst>
          </p:cNvPr>
          <p:cNvGrpSpPr/>
          <p:nvPr/>
        </p:nvGrpSpPr>
        <p:grpSpPr>
          <a:xfrm>
            <a:off x="593004" y="1562101"/>
            <a:ext cx="11011620" cy="4381499"/>
            <a:chOff x="593004" y="1687513"/>
            <a:chExt cx="11011620" cy="4424473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56DC9A93-A313-462F-8083-E58B64517ED3}"/>
                </a:ext>
              </a:extLst>
            </p:cNvPr>
            <p:cNvSpPr/>
            <p:nvPr/>
          </p:nvSpPr>
          <p:spPr>
            <a:xfrm>
              <a:off x="6210299" y="1687513"/>
              <a:ext cx="5394325" cy="96678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ng lead time of investigatio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021CE896-BD7D-4C37-BC73-02BBD06AF17E}"/>
                </a:ext>
              </a:extLst>
            </p:cNvPr>
            <p:cNvSpPr/>
            <p:nvPr/>
          </p:nvSpPr>
          <p:spPr>
            <a:xfrm>
              <a:off x="6210299" y="2840075"/>
              <a:ext cx="5394325" cy="96678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erceptible threat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="" xmlns:a16="http://schemas.microsoft.com/office/drawing/2014/main" id="{0BD5C48B-99FD-4A4F-B80B-8B3DAD381AE7}"/>
                </a:ext>
              </a:extLst>
            </p:cNvPr>
            <p:cNvSpPr/>
            <p:nvPr/>
          </p:nvSpPr>
          <p:spPr>
            <a:xfrm>
              <a:off x="6210299" y="3992637"/>
              <a:ext cx="5394325" cy="96678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tIns="0" rIns="0" bIns="0" rtlCol="0" anchor="ctr"/>
            <a:lstStyle/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x-none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verloaded Alerts</a:t>
              </a:r>
              <a:endPara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="" xmlns:a16="http://schemas.microsoft.com/office/drawing/2014/main" id="{E679205C-2471-4B9F-A49B-46225F5D0131}"/>
                </a:ext>
              </a:extLst>
            </p:cNvPr>
            <p:cNvSpPr/>
            <p:nvPr/>
          </p:nvSpPr>
          <p:spPr>
            <a:xfrm>
              <a:off x="6210299" y="5145199"/>
              <a:ext cx="5394325" cy="96678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low incident responses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F8E54549-7C75-4880-A006-8B994B54785D}"/>
                </a:ext>
              </a:extLst>
            </p:cNvPr>
            <p:cNvSpPr/>
            <p:nvPr/>
          </p:nvSpPr>
          <p:spPr>
            <a:xfrm>
              <a:off x="593004" y="1687513"/>
              <a:ext cx="5388696" cy="966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x-none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ns of Logs</a:t>
              </a:r>
              <a:endParaRPr lang="x-none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="" xmlns:a16="http://schemas.microsoft.com/office/drawing/2014/main" id="{D614C8E4-4C64-44BD-AEA7-0106EBF7995A}"/>
                </a:ext>
              </a:extLst>
            </p:cNvPr>
            <p:cNvSpPr/>
            <p:nvPr/>
          </p:nvSpPr>
          <p:spPr>
            <a:xfrm>
              <a:off x="593004" y="2840075"/>
              <a:ext cx="5388696" cy="966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x-none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urity Information Silo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x-none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="" xmlns:a16="http://schemas.microsoft.com/office/drawing/2014/main" id="{2778157D-45E9-4F3D-B79C-BED20C4D4B7D}"/>
                </a:ext>
              </a:extLst>
            </p:cNvPr>
            <p:cNvSpPr/>
            <p:nvPr/>
          </p:nvSpPr>
          <p:spPr>
            <a:xfrm>
              <a:off x="593004" y="3992637"/>
              <a:ext cx="5388696" cy="966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tIns="0" rIns="0" bIns="0" rtlCol="0" anchor="ctr"/>
            <a:lstStyle/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x-none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p</a:t>
              </a:r>
              <a:r>
                <a:rPr lang="en-U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</a:t>
              </a:r>
              <a:r>
                <a:rPr lang="x-none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ted </a:t>
              </a:r>
              <a:r>
                <a:rPr lang="x-none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vestigations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="" xmlns:a16="http://schemas.microsoft.com/office/drawing/2014/main" id="{B6BB7DB2-1E19-4087-A81B-32BF22DFE8D4}"/>
                </a:ext>
              </a:extLst>
            </p:cNvPr>
            <p:cNvSpPr/>
            <p:nvPr/>
          </p:nvSpPr>
          <p:spPr>
            <a:xfrm>
              <a:off x="593004" y="5145199"/>
              <a:ext cx="5388696" cy="966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alse positiv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089702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肘形连接符 104"/>
          <p:cNvCxnSpPr/>
          <p:nvPr/>
        </p:nvCxnSpPr>
        <p:spPr>
          <a:xfrm rot="16200000">
            <a:off x="3277289" y="1521466"/>
            <a:ext cx="279400" cy="1102360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直接连接符 183"/>
          <p:cNvCxnSpPr/>
          <p:nvPr/>
        </p:nvCxnSpPr>
        <p:spPr>
          <a:xfrm flipV="1">
            <a:off x="2844188" y="2886218"/>
            <a:ext cx="0" cy="22733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" name="直接连接符 365"/>
          <p:cNvCxnSpPr/>
          <p:nvPr/>
        </p:nvCxnSpPr>
        <p:spPr>
          <a:xfrm flipV="1">
            <a:off x="8557896" y="2798606"/>
            <a:ext cx="0" cy="22733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肘形连接符 232"/>
          <p:cNvCxnSpPr/>
          <p:nvPr/>
        </p:nvCxnSpPr>
        <p:spPr>
          <a:xfrm rot="16200000" flipV="1">
            <a:off x="7882573" y="1524203"/>
            <a:ext cx="279400" cy="1071245"/>
          </a:xfrm>
          <a:prstGeom prst="bentConnector3">
            <a:avLst>
              <a:gd name="adj1" fmla="val 50114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肘形连接符 357"/>
          <p:cNvCxnSpPr/>
          <p:nvPr/>
        </p:nvCxnSpPr>
        <p:spPr>
          <a:xfrm rot="5400000" flipH="1" flipV="1">
            <a:off x="7944256" y="2356870"/>
            <a:ext cx="107087" cy="1434363"/>
          </a:xfrm>
          <a:prstGeom prst="bentConnector2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直接连接符 205"/>
          <p:cNvCxnSpPr/>
          <p:nvPr/>
        </p:nvCxnSpPr>
        <p:spPr>
          <a:xfrm flipV="1">
            <a:off x="10084362" y="3305481"/>
            <a:ext cx="0" cy="23438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肘形连接符 233"/>
          <p:cNvCxnSpPr/>
          <p:nvPr/>
        </p:nvCxnSpPr>
        <p:spPr>
          <a:xfrm rot="16200000">
            <a:off x="8969693" y="1508328"/>
            <a:ext cx="279400" cy="1102360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直接箭头连接符 267"/>
          <p:cNvCxnSpPr/>
          <p:nvPr/>
        </p:nvCxnSpPr>
        <p:spPr>
          <a:xfrm flipV="1">
            <a:off x="8864159" y="2258571"/>
            <a:ext cx="501491" cy="6076"/>
          </a:xfrm>
          <a:prstGeom prst="straightConnector1">
            <a:avLst/>
          </a:prstGeom>
          <a:ln>
            <a:solidFill>
              <a:srgbClr val="888383"/>
            </a:solidFill>
            <a:prstDash val="sys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6" name="直接连接符 105"/>
          <p:cNvCxnSpPr/>
          <p:nvPr/>
        </p:nvCxnSpPr>
        <p:spPr>
          <a:xfrm flipV="1">
            <a:off x="2844188" y="2417950"/>
            <a:ext cx="0" cy="22733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直接连接符 98"/>
          <p:cNvCxnSpPr/>
          <p:nvPr/>
        </p:nvCxnSpPr>
        <p:spPr>
          <a:xfrm flipV="1">
            <a:off x="4160831" y="3318760"/>
            <a:ext cx="0" cy="234388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接连接符 83"/>
          <p:cNvCxnSpPr>
            <a:stCxn id="83" idx="0"/>
          </p:cNvCxnSpPr>
          <p:nvPr/>
        </p:nvCxnSpPr>
        <p:spPr>
          <a:xfrm flipV="1">
            <a:off x="1621451" y="3340415"/>
            <a:ext cx="0" cy="182341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rotect </a:t>
            </a:r>
            <a:r>
              <a:rPr lang="en-US" altLang="zh-CN" dirty="0"/>
              <a:t>Branch Security for A Service Provider</a:t>
            </a:r>
            <a:endParaRPr lang="zh-CN" altLang="en-US" dirty="0"/>
          </a:p>
        </p:txBody>
      </p:sp>
      <p:sp>
        <p:nvSpPr>
          <p:cNvPr id="5" name="Rectangle: Rounded Corners 2"/>
          <p:cNvSpPr/>
          <p:nvPr/>
        </p:nvSpPr>
        <p:spPr>
          <a:xfrm>
            <a:off x="585337" y="4179599"/>
            <a:ext cx="5331276" cy="419457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bIns="91440" rtlCol="0" anchor="ctr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Pain Points</a:t>
            </a:r>
          </a:p>
        </p:txBody>
      </p:sp>
      <p:sp>
        <p:nvSpPr>
          <p:cNvPr id="6" name="Rectangle: Rounded Corners 2"/>
          <p:cNvSpPr/>
          <p:nvPr/>
        </p:nvSpPr>
        <p:spPr>
          <a:xfrm>
            <a:off x="6311900" y="4179598"/>
            <a:ext cx="5292725" cy="419457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bIns="91440" rtlCol="0" anchor="ctr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llstone Solutions</a:t>
            </a:r>
          </a:p>
        </p:txBody>
      </p:sp>
      <p:sp>
        <p:nvSpPr>
          <p:cNvPr id="7" name="Text Placeholder 3"/>
          <p:cNvSpPr txBox="1"/>
          <p:nvPr/>
        </p:nvSpPr>
        <p:spPr>
          <a:xfrm>
            <a:off x="587376" y="4767413"/>
            <a:ext cx="5329238" cy="14198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solidFill>
                  <a:schemeClr val="bg1"/>
                </a:solidFill>
              </a:rPr>
              <a:t>The customer, with a large organizational structure, </a:t>
            </a:r>
            <a:r>
              <a:rPr lang="en-US" altLang="zh-CN" sz="1200" dirty="0" smtClean="0">
                <a:solidFill>
                  <a:schemeClr val="bg1"/>
                </a:solidFill>
              </a:rPr>
              <a:t>required </a:t>
            </a:r>
            <a:r>
              <a:rPr lang="en-US" altLang="zh-CN" sz="1200" dirty="0">
                <a:solidFill>
                  <a:schemeClr val="bg1"/>
                </a:solidFill>
              </a:rPr>
              <a:t>unified supervision of multiple subordinate </a:t>
            </a:r>
            <a:r>
              <a:rPr lang="en-US" altLang="zh-CN" sz="1200" dirty="0" smtClean="0">
                <a:solidFill>
                  <a:schemeClr val="bg1"/>
                </a:solidFill>
              </a:rPr>
              <a:t>organizations;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Despite having perimeter security devices in place at both headquarters and branches, there </a:t>
            </a:r>
            <a:r>
              <a:rPr lang="en-US" altLang="zh-CN" sz="1200" dirty="0" smtClean="0">
                <a:solidFill>
                  <a:schemeClr val="bg1"/>
                </a:solidFill>
              </a:rPr>
              <a:t>was </a:t>
            </a:r>
            <a:r>
              <a:rPr lang="en-US" altLang="zh-CN" sz="1200" dirty="0">
                <a:solidFill>
                  <a:schemeClr val="bg1"/>
                </a:solidFill>
              </a:rPr>
              <a:t>a lack of capability to analyze and mitigate threats within the </a:t>
            </a:r>
            <a:r>
              <a:rPr lang="en-US" altLang="zh-CN" sz="1200" dirty="0" smtClean="0">
                <a:solidFill>
                  <a:schemeClr val="bg1"/>
                </a:solidFill>
              </a:rPr>
              <a:t>Intranet;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The </a:t>
            </a:r>
            <a:r>
              <a:rPr lang="en-US" altLang="zh-CN" sz="1200" dirty="0" smtClean="0">
                <a:solidFill>
                  <a:schemeClr val="bg1"/>
                </a:solidFill>
              </a:rPr>
              <a:t>customer also faced </a:t>
            </a:r>
            <a:r>
              <a:rPr lang="en-US" altLang="zh-CN" sz="1200" dirty="0">
                <a:solidFill>
                  <a:schemeClr val="bg1"/>
                </a:solidFill>
              </a:rPr>
              <a:t>challenges in locating risky hosts due to the complexity of the network environment.</a:t>
            </a:r>
          </a:p>
        </p:txBody>
      </p:sp>
      <p:sp>
        <p:nvSpPr>
          <p:cNvPr id="8" name="Text Placeholder 3"/>
          <p:cNvSpPr txBox="1"/>
          <p:nvPr/>
        </p:nvSpPr>
        <p:spPr>
          <a:xfrm>
            <a:off x="6311900" y="4757253"/>
            <a:ext cx="5329238" cy="16276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100" dirty="0" err="1">
                <a:solidFill>
                  <a:schemeClr val="bg1"/>
                </a:solidFill>
              </a:rPr>
              <a:t>Hillstone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iSource</a:t>
            </a:r>
            <a:r>
              <a:rPr lang="en-US" altLang="zh-CN" sz="1100" dirty="0" smtClean="0">
                <a:solidFill>
                  <a:schemeClr val="bg1"/>
                </a:solidFill>
              </a:rPr>
              <a:t> XDR solution offered </a:t>
            </a:r>
            <a:r>
              <a:rPr lang="en-US" altLang="zh-CN" sz="1100" dirty="0">
                <a:solidFill>
                  <a:schemeClr val="bg1"/>
                </a:solidFill>
              </a:rPr>
              <a:t>hierarchical management for multiple branches, enabling comprehensive supervision. The </a:t>
            </a:r>
            <a:r>
              <a:rPr lang="en-US" altLang="zh-CN" sz="1100" dirty="0" err="1">
                <a:solidFill>
                  <a:schemeClr val="bg1"/>
                </a:solidFill>
              </a:rPr>
              <a:t>iSource</a:t>
            </a:r>
            <a:r>
              <a:rPr lang="en-US" altLang="zh-CN" sz="1100" dirty="0">
                <a:solidFill>
                  <a:schemeClr val="bg1"/>
                </a:solidFill>
              </a:rPr>
              <a:t> platform at headquarters </a:t>
            </a:r>
            <a:r>
              <a:rPr lang="en-US" altLang="zh-CN" sz="1100" dirty="0" smtClean="0">
                <a:solidFill>
                  <a:schemeClr val="bg1"/>
                </a:solidFill>
              </a:rPr>
              <a:t>provided </a:t>
            </a:r>
            <a:r>
              <a:rPr lang="en-US" altLang="zh-CN" sz="1100" dirty="0">
                <a:solidFill>
                  <a:schemeClr val="bg1"/>
                </a:solidFill>
              </a:rPr>
              <a:t>a centralized view of the organization's security </a:t>
            </a:r>
            <a:r>
              <a:rPr lang="en-US" altLang="zh-CN" sz="1100" dirty="0" smtClean="0">
                <a:solidFill>
                  <a:schemeClr val="bg1"/>
                </a:solidFill>
              </a:rPr>
              <a:t>posture</a:t>
            </a:r>
            <a:r>
              <a:rPr lang="en-US" altLang="zh-CN" sz="1100" dirty="0">
                <a:solidFill>
                  <a:schemeClr val="bg1"/>
                </a:solidFill>
              </a:rPr>
              <a:t>;</a:t>
            </a:r>
            <a:endParaRPr lang="en-US" altLang="zh-CN" sz="1100" dirty="0" smtClean="0">
              <a:solidFill>
                <a:schemeClr val="bg1"/>
              </a:solidFill>
            </a:endParaRPr>
          </a:p>
          <a:p>
            <a:r>
              <a:rPr lang="en-US" altLang="zh-CN" sz="1100" dirty="0" err="1">
                <a:solidFill>
                  <a:schemeClr val="bg1"/>
                </a:solidFill>
              </a:rPr>
              <a:t>Hillstone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iSource</a:t>
            </a:r>
            <a:r>
              <a:rPr lang="en-US" altLang="zh-CN" sz="1100" dirty="0">
                <a:solidFill>
                  <a:schemeClr val="bg1"/>
                </a:solidFill>
              </a:rPr>
              <a:t> XDR solution </a:t>
            </a:r>
            <a:r>
              <a:rPr lang="en-US" altLang="zh-CN" sz="1100" dirty="0" smtClean="0">
                <a:solidFill>
                  <a:schemeClr val="bg1"/>
                </a:solidFill>
              </a:rPr>
              <a:t>correlated </a:t>
            </a:r>
            <a:r>
              <a:rPr lang="en-US" altLang="zh-CN" sz="1100" dirty="0">
                <a:solidFill>
                  <a:schemeClr val="bg1"/>
                </a:solidFill>
              </a:rPr>
              <a:t>data from BDS and EDR to effectively detect threats within the </a:t>
            </a:r>
            <a:r>
              <a:rPr lang="en-US" altLang="zh-CN" sz="1100" dirty="0" smtClean="0">
                <a:solidFill>
                  <a:schemeClr val="bg1"/>
                </a:solidFill>
              </a:rPr>
              <a:t>Intranet</a:t>
            </a:r>
            <a:r>
              <a:rPr lang="en-US" altLang="zh-CN" sz="1100" dirty="0">
                <a:solidFill>
                  <a:schemeClr val="bg1"/>
                </a:solidFill>
              </a:rPr>
              <a:t>;</a:t>
            </a:r>
            <a:endParaRPr lang="en-US" altLang="zh-CN" sz="1100" dirty="0" smtClean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Integration of firewall and EDR devices across subordinate platforms, along with </a:t>
            </a:r>
            <a:r>
              <a:rPr lang="en-US" altLang="zh-CN" sz="1100" dirty="0" smtClean="0">
                <a:solidFill>
                  <a:schemeClr val="bg1"/>
                </a:solidFill>
              </a:rPr>
              <a:t>automated orchestration capability, enabled </a:t>
            </a:r>
            <a:r>
              <a:rPr lang="en-US" altLang="zh-CN" sz="1100" dirty="0">
                <a:solidFill>
                  <a:schemeClr val="bg1"/>
                </a:solidFill>
              </a:rPr>
              <a:t>a closed-loop </a:t>
            </a:r>
            <a:r>
              <a:rPr lang="en-US" altLang="zh-CN" sz="1100" dirty="0" smtClean="0">
                <a:solidFill>
                  <a:schemeClr val="bg1"/>
                </a:solidFill>
              </a:rPr>
              <a:t>response</a:t>
            </a:r>
            <a:r>
              <a:rPr lang="en-US" altLang="zh-CN" sz="1100" dirty="0">
                <a:solidFill>
                  <a:schemeClr val="bg1"/>
                </a:solidFill>
              </a:rPr>
              <a:t>. This </a:t>
            </a:r>
            <a:r>
              <a:rPr lang="en-US" altLang="zh-CN" sz="1100" dirty="0" smtClean="0">
                <a:solidFill>
                  <a:schemeClr val="bg1"/>
                </a:solidFill>
              </a:rPr>
              <a:t>facilitated </a:t>
            </a:r>
            <a:r>
              <a:rPr lang="en-US" altLang="zh-CN" sz="1100" dirty="0">
                <a:solidFill>
                  <a:schemeClr val="bg1"/>
                </a:solidFill>
              </a:rPr>
              <a:t>the efficient identification of attack sources, thereby enhancing the organization's overall security </a:t>
            </a:r>
            <a:r>
              <a:rPr lang="en-US" altLang="zh-CN" sz="1100" dirty="0" smtClean="0">
                <a:solidFill>
                  <a:schemeClr val="bg1"/>
                </a:solidFill>
              </a:rPr>
              <a:t>posture.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pic>
        <p:nvPicPr>
          <p:cNvPr id="69" name="图片 6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2353" y="2570848"/>
            <a:ext cx="1065631" cy="413496"/>
          </a:xfrm>
          <a:prstGeom prst="rect">
            <a:avLst/>
          </a:prstGeom>
        </p:spPr>
      </p:pic>
      <p:sp>
        <p:nvSpPr>
          <p:cNvPr id="70" name="矩形 69"/>
          <p:cNvSpPr/>
          <p:nvPr/>
        </p:nvSpPr>
        <p:spPr>
          <a:xfrm>
            <a:off x="2439135" y="2650661"/>
            <a:ext cx="88843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Internet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73" name="图片 7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010" y="3220635"/>
            <a:ext cx="715717" cy="232564"/>
          </a:xfrm>
          <a:prstGeom prst="rect">
            <a:avLst/>
          </a:prstGeom>
        </p:spPr>
      </p:pic>
      <p:sp>
        <p:nvSpPr>
          <p:cNvPr id="75" name="TextBox 74_1"/>
          <p:cNvSpPr txBox="1"/>
          <p:nvPr/>
        </p:nvSpPr>
        <p:spPr>
          <a:xfrm>
            <a:off x="1191719" y="3181612"/>
            <a:ext cx="8106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6" name="图片 7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284" y="3191411"/>
            <a:ext cx="768091" cy="249582"/>
          </a:xfrm>
          <a:prstGeom prst="rect">
            <a:avLst/>
          </a:prstGeom>
        </p:spPr>
      </p:pic>
      <p:sp>
        <p:nvSpPr>
          <p:cNvPr id="77" name="TextBox 74_1"/>
          <p:cNvSpPr txBox="1"/>
          <p:nvPr/>
        </p:nvSpPr>
        <p:spPr>
          <a:xfrm>
            <a:off x="3710551" y="3172267"/>
            <a:ext cx="8998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圆角矩形 82"/>
          <p:cNvSpPr/>
          <p:nvPr/>
        </p:nvSpPr>
        <p:spPr>
          <a:xfrm>
            <a:off x="961051" y="3522756"/>
            <a:ext cx="1320800" cy="580761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85" name="图片 84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24940" y="3705971"/>
            <a:ext cx="242913" cy="243030"/>
          </a:xfrm>
          <a:prstGeom prst="rect">
            <a:avLst/>
          </a:prstGeom>
        </p:spPr>
      </p:pic>
      <p:pic>
        <p:nvPicPr>
          <p:cNvPr id="86" name="图片 85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979729" y="3642111"/>
            <a:ext cx="188674" cy="188765"/>
          </a:xfrm>
          <a:prstGeom prst="rect">
            <a:avLst/>
          </a:prstGeom>
        </p:spPr>
      </p:pic>
      <p:pic>
        <p:nvPicPr>
          <p:cNvPr id="87" name="图片 86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969255" y="3821070"/>
            <a:ext cx="188674" cy="188765"/>
          </a:xfrm>
          <a:prstGeom prst="rect">
            <a:avLst/>
          </a:prstGeom>
        </p:spPr>
      </p:pic>
      <p:pic>
        <p:nvPicPr>
          <p:cNvPr id="88" name="图片 87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97013" y="3635070"/>
            <a:ext cx="188674" cy="188765"/>
          </a:xfrm>
          <a:prstGeom prst="rect">
            <a:avLst/>
          </a:prstGeom>
        </p:spPr>
      </p:pic>
      <p:pic>
        <p:nvPicPr>
          <p:cNvPr id="89" name="图片 88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97013" y="3823835"/>
            <a:ext cx="188674" cy="188765"/>
          </a:xfrm>
          <a:prstGeom prst="rect">
            <a:avLst/>
          </a:prstGeom>
        </p:spPr>
      </p:pic>
      <p:pic>
        <p:nvPicPr>
          <p:cNvPr id="90" name="图片 89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319328" y="3702320"/>
            <a:ext cx="242913" cy="243030"/>
          </a:xfrm>
          <a:prstGeom prst="rect">
            <a:avLst/>
          </a:prstGeom>
        </p:spPr>
      </p:pic>
      <p:sp>
        <p:nvSpPr>
          <p:cNvPr id="91" name="文本框 90"/>
          <p:cNvSpPr txBox="1"/>
          <p:nvPr/>
        </p:nvSpPr>
        <p:spPr>
          <a:xfrm>
            <a:off x="2575863" y="3552343"/>
            <a:ext cx="630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……</a:t>
            </a:r>
          </a:p>
        </p:txBody>
      </p:sp>
      <p:sp>
        <p:nvSpPr>
          <p:cNvPr id="92" name="圆角矩形 91"/>
          <p:cNvSpPr/>
          <p:nvPr/>
        </p:nvSpPr>
        <p:spPr>
          <a:xfrm>
            <a:off x="3455929" y="3551764"/>
            <a:ext cx="1320800" cy="551753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93" name="图片 92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518110" y="3724242"/>
            <a:ext cx="242913" cy="243030"/>
          </a:xfrm>
          <a:prstGeom prst="rect">
            <a:avLst/>
          </a:prstGeom>
        </p:spPr>
      </p:pic>
      <p:pic>
        <p:nvPicPr>
          <p:cNvPr id="94" name="图片 93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87858" y="3662987"/>
            <a:ext cx="188674" cy="188765"/>
          </a:xfrm>
          <a:prstGeom prst="rect">
            <a:avLst/>
          </a:prstGeom>
        </p:spPr>
      </p:pic>
      <p:pic>
        <p:nvPicPr>
          <p:cNvPr id="95" name="图片 94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82113" y="3846675"/>
            <a:ext cx="188674" cy="188765"/>
          </a:xfrm>
          <a:prstGeom prst="rect">
            <a:avLst/>
          </a:prstGeom>
        </p:spPr>
      </p:pic>
      <p:pic>
        <p:nvPicPr>
          <p:cNvPr id="96" name="图片 95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205142" y="3655946"/>
            <a:ext cx="188674" cy="188765"/>
          </a:xfrm>
          <a:prstGeom prst="rect">
            <a:avLst/>
          </a:prstGeom>
        </p:spPr>
      </p:pic>
      <p:pic>
        <p:nvPicPr>
          <p:cNvPr id="97" name="图片 96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205142" y="3844711"/>
            <a:ext cx="188674" cy="188765"/>
          </a:xfrm>
          <a:prstGeom prst="rect">
            <a:avLst/>
          </a:prstGeom>
        </p:spPr>
      </p:pic>
      <p:pic>
        <p:nvPicPr>
          <p:cNvPr id="98" name="图片 97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851658" y="3724242"/>
            <a:ext cx="242913" cy="24303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699178" y="2861178"/>
            <a:ext cx="108057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Branch A</a:t>
            </a:r>
            <a:endParaRPr lang="zh-CN" altLang="en-US" sz="9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3936079" y="2887868"/>
            <a:ext cx="108057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Branch N</a:t>
            </a:r>
            <a:endParaRPr lang="zh-CN" altLang="en-US" sz="9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cxnSp>
        <p:nvCxnSpPr>
          <p:cNvPr id="104" name="肘形连接符 103"/>
          <p:cNvCxnSpPr/>
          <p:nvPr/>
        </p:nvCxnSpPr>
        <p:spPr>
          <a:xfrm rot="16200000" flipV="1">
            <a:off x="2190169" y="1537341"/>
            <a:ext cx="279400" cy="1071245"/>
          </a:xfrm>
          <a:prstGeom prst="bentConnector3">
            <a:avLst>
              <a:gd name="adj1" fmla="val 50114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圆角矩形 106"/>
          <p:cNvSpPr/>
          <p:nvPr/>
        </p:nvSpPr>
        <p:spPr>
          <a:xfrm>
            <a:off x="994272" y="1512575"/>
            <a:ext cx="1551653" cy="446351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108" name="图片 107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378538" y="1618152"/>
            <a:ext cx="242913" cy="243030"/>
          </a:xfrm>
          <a:prstGeom prst="rect">
            <a:avLst/>
          </a:prstGeom>
        </p:spPr>
      </p:pic>
      <p:pic>
        <p:nvPicPr>
          <p:cNvPr id="113" name="图片 112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679917" y="1609946"/>
            <a:ext cx="242913" cy="243030"/>
          </a:xfrm>
          <a:prstGeom prst="rect">
            <a:avLst/>
          </a:prstGeom>
        </p:spPr>
      </p:pic>
      <p:pic>
        <p:nvPicPr>
          <p:cNvPr id="115" name="图片 114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980000" y="1604125"/>
            <a:ext cx="242913" cy="243030"/>
          </a:xfrm>
          <a:prstGeom prst="rect">
            <a:avLst/>
          </a:prstGeom>
        </p:spPr>
      </p:pic>
      <p:sp>
        <p:nvSpPr>
          <p:cNvPr id="116" name="圆角矩形 115"/>
          <p:cNvSpPr/>
          <p:nvPr/>
        </p:nvSpPr>
        <p:spPr>
          <a:xfrm>
            <a:off x="3327575" y="1484987"/>
            <a:ext cx="1467870" cy="446351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120" name="图片 119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406084" y="1513387"/>
            <a:ext cx="188674" cy="188765"/>
          </a:xfrm>
          <a:prstGeom prst="rect">
            <a:avLst/>
          </a:prstGeom>
        </p:spPr>
      </p:pic>
      <p:pic>
        <p:nvPicPr>
          <p:cNvPr id="121" name="图片 120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638012" y="1518131"/>
            <a:ext cx="188674" cy="188765"/>
          </a:xfrm>
          <a:prstGeom prst="rect">
            <a:avLst/>
          </a:prstGeom>
        </p:spPr>
      </p:pic>
      <p:pic>
        <p:nvPicPr>
          <p:cNvPr id="122" name="图片 121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81088" y="1513386"/>
            <a:ext cx="188674" cy="188765"/>
          </a:xfrm>
          <a:prstGeom prst="rect">
            <a:avLst/>
          </a:prstGeom>
        </p:spPr>
      </p:pic>
      <p:pic>
        <p:nvPicPr>
          <p:cNvPr id="123" name="图片 122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109869" y="1512575"/>
            <a:ext cx="188674" cy="188765"/>
          </a:xfrm>
          <a:prstGeom prst="rect">
            <a:avLst/>
          </a:prstGeom>
        </p:spPr>
      </p:pic>
      <p:pic>
        <p:nvPicPr>
          <p:cNvPr id="124" name="图片 123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406084" y="1706667"/>
            <a:ext cx="188674" cy="188765"/>
          </a:xfrm>
          <a:prstGeom prst="rect">
            <a:avLst/>
          </a:prstGeom>
        </p:spPr>
      </p:pic>
      <p:pic>
        <p:nvPicPr>
          <p:cNvPr id="125" name="图片 124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638012" y="1711411"/>
            <a:ext cx="188674" cy="188765"/>
          </a:xfrm>
          <a:prstGeom prst="rect">
            <a:avLst/>
          </a:prstGeom>
        </p:spPr>
      </p:pic>
      <p:pic>
        <p:nvPicPr>
          <p:cNvPr id="126" name="图片 125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81088" y="1706666"/>
            <a:ext cx="188674" cy="188765"/>
          </a:xfrm>
          <a:prstGeom prst="rect">
            <a:avLst/>
          </a:prstGeom>
        </p:spPr>
      </p:pic>
      <p:pic>
        <p:nvPicPr>
          <p:cNvPr id="127" name="图片 126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113016" y="1700267"/>
            <a:ext cx="188674" cy="188765"/>
          </a:xfrm>
          <a:prstGeom prst="rect">
            <a:avLst/>
          </a:prstGeom>
        </p:spPr>
      </p:pic>
      <p:pic>
        <p:nvPicPr>
          <p:cNvPr id="129" name="图片 128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63254" y="1618152"/>
            <a:ext cx="242913" cy="243030"/>
          </a:xfrm>
          <a:prstGeom prst="rect">
            <a:avLst/>
          </a:prstGeom>
        </p:spPr>
      </p:pic>
      <p:pic>
        <p:nvPicPr>
          <p:cNvPr id="130" name="图片 129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263139" y="1606197"/>
            <a:ext cx="242913" cy="243030"/>
          </a:xfrm>
          <a:prstGeom prst="rect">
            <a:avLst/>
          </a:prstGeom>
        </p:spPr>
      </p:pic>
      <p:pic>
        <p:nvPicPr>
          <p:cNvPr id="131" name="图片 130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336693" y="1512575"/>
            <a:ext cx="188674" cy="188765"/>
          </a:xfrm>
          <a:prstGeom prst="rect">
            <a:avLst/>
          </a:prstGeom>
        </p:spPr>
      </p:pic>
      <p:pic>
        <p:nvPicPr>
          <p:cNvPr id="132" name="图片 131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339840" y="1700267"/>
            <a:ext cx="188674" cy="188765"/>
          </a:xfrm>
          <a:prstGeom prst="rect">
            <a:avLst/>
          </a:prstGeom>
        </p:spPr>
      </p:pic>
      <p:pic>
        <p:nvPicPr>
          <p:cNvPr id="133" name="图片 132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556100" y="1510207"/>
            <a:ext cx="188674" cy="188765"/>
          </a:xfrm>
          <a:prstGeom prst="rect">
            <a:avLst/>
          </a:prstGeom>
        </p:spPr>
      </p:pic>
      <p:pic>
        <p:nvPicPr>
          <p:cNvPr id="134" name="图片 133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559247" y="1697899"/>
            <a:ext cx="188674" cy="188765"/>
          </a:xfrm>
          <a:prstGeom prst="rect">
            <a:avLst/>
          </a:prstGeom>
        </p:spPr>
      </p:pic>
      <p:sp>
        <p:nvSpPr>
          <p:cNvPr id="135" name="矩形 134"/>
          <p:cNvSpPr/>
          <p:nvPr/>
        </p:nvSpPr>
        <p:spPr>
          <a:xfrm>
            <a:off x="828845" y="2235568"/>
            <a:ext cx="10805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Headquart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cxnSp>
        <p:nvCxnSpPr>
          <p:cNvPr id="205" name="直接连接符 204"/>
          <p:cNvCxnSpPr/>
          <p:nvPr/>
        </p:nvCxnSpPr>
        <p:spPr>
          <a:xfrm flipV="1">
            <a:off x="8549928" y="2395255"/>
            <a:ext cx="0" cy="22733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直接连接符 206"/>
          <p:cNvCxnSpPr>
            <a:stCxn id="214" idx="0"/>
          </p:cNvCxnSpPr>
          <p:nvPr/>
        </p:nvCxnSpPr>
        <p:spPr>
          <a:xfrm flipV="1">
            <a:off x="7292320" y="3330638"/>
            <a:ext cx="0" cy="182341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8" name="图片 20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8599" y="2513460"/>
            <a:ext cx="1074772" cy="385643"/>
          </a:xfrm>
          <a:prstGeom prst="rect">
            <a:avLst/>
          </a:prstGeom>
        </p:spPr>
      </p:pic>
      <p:sp>
        <p:nvSpPr>
          <p:cNvPr id="209" name="矩形 208"/>
          <p:cNvSpPr/>
          <p:nvPr/>
        </p:nvSpPr>
        <p:spPr>
          <a:xfrm>
            <a:off x="8143228" y="2566859"/>
            <a:ext cx="88843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Internet</a:t>
            </a:r>
            <a:endParaRPr lang="zh-CN" altLang="en-US" sz="105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210" name="图片 20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552" y="3145738"/>
            <a:ext cx="671174" cy="218090"/>
          </a:xfrm>
          <a:prstGeom prst="rect">
            <a:avLst/>
          </a:prstGeom>
        </p:spPr>
      </p:pic>
      <p:sp>
        <p:nvSpPr>
          <p:cNvPr id="211" name="TextBox 74_1"/>
          <p:cNvSpPr txBox="1"/>
          <p:nvPr/>
        </p:nvSpPr>
        <p:spPr>
          <a:xfrm>
            <a:off x="6887178" y="3131036"/>
            <a:ext cx="8211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圆角矩形 213"/>
          <p:cNvSpPr/>
          <p:nvPr/>
        </p:nvSpPr>
        <p:spPr>
          <a:xfrm>
            <a:off x="6631920" y="3512979"/>
            <a:ext cx="1320800" cy="580761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15" name="图片 214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695809" y="3713720"/>
            <a:ext cx="242913" cy="243030"/>
          </a:xfrm>
          <a:prstGeom prst="rect">
            <a:avLst/>
          </a:prstGeom>
        </p:spPr>
      </p:pic>
      <p:pic>
        <p:nvPicPr>
          <p:cNvPr id="216" name="图片 215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650598" y="3649860"/>
            <a:ext cx="188674" cy="188765"/>
          </a:xfrm>
          <a:prstGeom prst="rect">
            <a:avLst/>
          </a:prstGeom>
        </p:spPr>
      </p:pic>
      <p:pic>
        <p:nvPicPr>
          <p:cNvPr id="217" name="图片 216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640124" y="3828819"/>
            <a:ext cx="188674" cy="188765"/>
          </a:xfrm>
          <a:prstGeom prst="rect">
            <a:avLst/>
          </a:prstGeom>
        </p:spPr>
      </p:pic>
      <p:pic>
        <p:nvPicPr>
          <p:cNvPr id="218" name="图片 217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367882" y="3642819"/>
            <a:ext cx="188674" cy="188765"/>
          </a:xfrm>
          <a:prstGeom prst="rect">
            <a:avLst/>
          </a:prstGeom>
        </p:spPr>
      </p:pic>
      <p:pic>
        <p:nvPicPr>
          <p:cNvPr id="219" name="图片 218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367882" y="3831584"/>
            <a:ext cx="188674" cy="188765"/>
          </a:xfrm>
          <a:prstGeom prst="rect">
            <a:avLst/>
          </a:prstGeom>
        </p:spPr>
      </p:pic>
      <p:pic>
        <p:nvPicPr>
          <p:cNvPr id="220" name="图片 219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990197" y="3710069"/>
            <a:ext cx="242913" cy="243030"/>
          </a:xfrm>
          <a:prstGeom prst="rect">
            <a:avLst/>
          </a:prstGeom>
        </p:spPr>
      </p:pic>
      <p:sp>
        <p:nvSpPr>
          <p:cNvPr id="221" name="文本框 220"/>
          <p:cNvSpPr txBox="1"/>
          <p:nvPr/>
        </p:nvSpPr>
        <p:spPr>
          <a:xfrm>
            <a:off x="8651837" y="3428849"/>
            <a:ext cx="630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……</a:t>
            </a:r>
          </a:p>
        </p:txBody>
      </p:sp>
      <p:sp>
        <p:nvSpPr>
          <p:cNvPr id="222" name="圆角矩形 221"/>
          <p:cNvSpPr/>
          <p:nvPr/>
        </p:nvSpPr>
        <p:spPr>
          <a:xfrm>
            <a:off x="9448053" y="3538626"/>
            <a:ext cx="1320800" cy="551753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23" name="图片 222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510234" y="3711104"/>
            <a:ext cx="242913" cy="243030"/>
          </a:xfrm>
          <a:prstGeom prst="rect">
            <a:avLst/>
          </a:prstGeom>
        </p:spPr>
      </p:pic>
      <p:pic>
        <p:nvPicPr>
          <p:cNvPr id="224" name="图片 223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479982" y="3649849"/>
            <a:ext cx="188674" cy="188765"/>
          </a:xfrm>
          <a:prstGeom prst="rect">
            <a:avLst/>
          </a:prstGeom>
        </p:spPr>
      </p:pic>
      <p:pic>
        <p:nvPicPr>
          <p:cNvPr id="225" name="图片 224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474237" y="3833537"/>
            <a:ext cx="188674" cy="188765"/>
          </a:xfrm>
          <a:prstGeom prst="rect">
            <a:avLst/>
          </a:prstGeom>
        </p:spPr>
      </p:pic>
      <p:pic>
        <p:nvPicPr>
          <p:cNvPr id="226" name="图片 225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197266" y="3642808"/>
            <a:ext cx="188674" cy="188765"/>
          </a:xfrm>
          <a:prstGeom prst="rect">
            <a:avLst/>
          </a:prstGeom>
        </p:spPr>
      </p:pic>
      <p:pic>
        <p:nvPicPr>
          <p:cNvPr id="227" name="图片 226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197266" y="3831573"/>
            <a:ext cx="188674" cy="188765"/>
          </a:xfrm>
          <a:prstGeom prst="rect">
            <a:avLst/>
          </a:prstGeom>
        </p:spPr>
      </p:pic>
      <p:pic>
        <p:nvPicPr>
          <p:cNvPr id="228" name="图片 227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843782" y="3711104"/>
            <a:ext cx="242913" cy="243030"/>
          </a:xfrm>
          <a:prstGeom prst="rect">
            <a:avLst/>
          </a:prstGeom>
        </p:spPr>
      </p:pic>
      <p:sp>
        <p:nvSpPr>
          <p:cNvPr id="229" name="矩形 228"/>
          <p:cNvSpPr/>
          <p:nvPr/>
        </p:nvSpPr>
        <p:spPr>
          <a:xfrm>
            <a:off x="6336826" y="2897718"/>
            <a:ext cx="108057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Branch A</a:t>
            </a:r>
            <a:endParaRPr lang="zh-CN" altLang="en-US" sz="9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30" name="矩形 229"/>
          <p:cNvSpPr/>
          <p:nvPr/>
        </p:nvSpPr>
        <p:spPr>
          <a:xfrm>
            <a:off x="10440827" y="2882716"/>
            <a:ext cx="108057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Branch N</a:t>
            </a:r>
            <a:endParaRPr lang="zh-CN" altLang="en-US" sz="9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231" name="图片 2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0580" y="2094620"/>
            <a:ext cx="1140571" cy="370615"/>
          </a:xfrm>
          <a:prstGeom prst="rect">
            <a:avLst/>
          </a:prstGeom>
        </p:spPr>
      </p:pic>
      <p:sp>
        <p:nvSpPr>
          <p:cNvPr id="232" name="TextBox 74_1"/>
          <p:cNvSpPr txBox="1"/>
          <p:nvPr/>
        </p:nvSpPr>
        <p:spPr>
          <a:xfrm>
            <a:off x="8096379" y="2130639"/>
            <a:ext cx="10149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" name="圆角矩形 234"/>
          <p:cNvSpPr/>
          <p:nvPr/>
        </p:nvSpPr>
        <p:spPr>
          <a:xfrm>
            <a:off x="6686676" y="1499437"/>
            <a:ext cx="1551653" cy="446351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36" name="图片 235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070942" y="1605014"/>
            <a:ext cx="242913" cy="243030"/>
          </a:xfrm>
          <a:prstGeom prst="rect">
            <a:avLst/>
          </a:prstGeom>
        </p:spPr>
      </p:pic>
      <p:pic>
        <p:nvPicPr>
          <p:cNvPr id="237" name="图片 236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372321" y="1596808"/>
            <a:ext cx="242913" cy="243030"/>
          </a:xfrm>
          <a:prstGeom prst="rect">
            <a:avLst/>
          </a:prstGeom>
        </p:spPr>
      </p:pic>
      <p:pic>
        <p:nvPicPr>
          <p:cNvPr id="238" name="图片 237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672404" y="1590987"/>
            <a:ext cx="242913" cy="243030"/>
          </a:xfrm>
          <a:prstGeom prst="rect">
            <a:avLst/>
          </a:prstGeom>
        </p:spPr>
      </p:pic>
      <p:sp>
        <p:nvSpPr>
          <p:cNvPr id="239" name="圆角矩形 238"/>
          <p:cNvSpPr/>
          <p:nvPr/>
        </p:nvSpPr>
        <p:spPr>
          <a:xfrm>
            <a:off x="9019979" y="1471849"/>
            <a:ext cx="1467870" cy="446351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40" name="图片 239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098488" y="1500249"/>
            <a:ext cx="188674" cy="188765"/>
          </a:xfrm>
          <a:prstGeom prst="rect">
            <a:avLst/>
          </a:prstGeom>
        </p:spPr>
      </p:pic>
      <p:pic>
        <p:nvPicPr>
          <p:cNvPr id="241" name="图片 240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330416" y="1504993"/>
            <a:ext cx="188674" cy="188765"/>
          </a:xfrm>
          <a:prstGeom prst="rect">
            <a:avLst/>
          </a:prstGeom>
        </p:spPr>
      </p:pic>
      <p:pic>
        <p:nvPicPr>
          <p:cNvPr id="242" name="图片 241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573492" y="1500248"/>
            <a:ext cx="188674" cy="188765"/>
          </a:xfrm>
          <a:prstGeom prst="rect">
            <a:avLst/>
          </a:prstGeom>
        </p:spPr>
      </p:pic>
      <p:pic>
        <p:nvPicPr>
          <p:cNvPr id="243" name="图片 242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802273" y="1499437"/>
            <a:ext cx="188674" cy="188765"/>
          </a:xfrm>
          <a:prstGeom prst="rect">
            <a:avLst/>
          </a:prstGeom>
        </p:spPr>
      </p:pic>
      <p:pic>
        <p:nvPicPr>
          <p:cNvPr id="244" name="图片 243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098488" y="1693529"/>
            <a:ext cx="188674" cy="188765"/>
          </a:xfrm>
          <a:prstGeom prst="rect">
            <a:avLst/>
          </a:prstGeom>
        </p:spPr>
      </p:pic>
      <p:pic>
        <p:nvPicPr>
          <p:cNvPr id="245" name="图片 244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330416" y="1698273"/>
            <a:ext cx="188674" cy="188765"/>
          </a:xfrm>
          <a:prstGeom prst="rect">
            <a:avLst/>
          </a:prstGeom>
        </p:spPr>
      </p:pic>
      <p:pic>
        <p:nvPicPr>
          <p:cNvPr id="246" name="图片 245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573492" y="1693528"/>
            <a:ext cx="188674" cy="188765"/>
          </a:xfrm>
          <a:prstGeom prst="rect">
            <a:avLst/>
          </a:prstGeom>
        </p:spPr>
      </p:pic>
      <p:pic>
        <p:nvPicPr>
          <p:cNvPr id="247" name="图片 246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805420" y="1687129"/>
            <a:ext cx="188674" cy="188765"/>
          </a:xfrm>
          <a:prstGeom prst="rect">
            <a:avLst/>
          </a:prstGeom>
        </p:spPr>
      </p:pic>
      <p:pic>
        <p:nvPicPr>
          <p:cNvPr id="249" name="图片 248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755658" y="1605014"/>
            <a:ext cx="242913" cy="243030"/>
          </a:xfrm>
          <a:prstGeom prst="rect">
            <a:avLst/>
          </a:prstGeom>
        </p:spPr>
      </p:pic>
      <p:pic>
        <p:nvPicPr>
          <p:cNvPr id="250" name="图片 249" descr="32303236373535333b32303238393030353bb7fecef1c6f7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955543" y="1593059"/>
            <a:ext cx="242913" cy="243030"/>
          </a:xfrm>
          <a:prstGeom prst="rect">
            <a:avLst/>
          </a:prstGeom>
        </p:spPr>
      </p:pic>
      <p:pic>
        <p:nvPicPr>
          <p:cNvPr id="251" name="图片 250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029097" y="1499437"/>
            <a:ext cx="188674" cy="188765"/>
          </a:xfrm>
          <a:prstGeom prst="rect">
            <a:avLst/>
          </a:prstGeom>
        </p:spPr>
      </p:pic>
      <p:pic>
        <p:nvPicPr>
          <p:cNvPr id="252" name="图片 251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032244" y="1687129"/>
            <a:ext cx="188674" cy="188765"/>
          </a:xfrm>
          <a:prstGeom prst="rect">
            <a:avLst/>
          </a:prstGeom>
        </p:spPr>
      </p:pic>
      <p:pic>
        <p:nvPicPr>
          <p:cNvPr id="253" name="图片 252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248504" y="1497069"/>
            <a:ext cx="188674" cy="188765"/>
          </a:xfrm>
          <a:prstGeom prst="rect">
            <a:avLst/>
          </a:prstGeom>
        </p:spPr>
      </p:pic>
      <p:pic>
        <p:nvPicPr>
          <p:cNvPr id="254" name="图片 253" descr="343435333334363b333633363636343bb5e7c4d4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251651" y="1684761"/>
            <a:ext cx="188674" cy="188765"/>
          </a:xfrm>
          <a:prstGeom prst="rect">
            <a:avLst/>
          </a:prstGeom>
        </p:spPr>
      </p:pic>
      <p:sp>
        <p:nvSpPr>
          <p:cNvPr id="255" name="矩形 254"/>
          <p:cNvSpPr/>
          <p:nvPr/>
        </p:nvSpPr>
        <p:spPr>
          <a:xfrm>
            <a:off x="6699049" y="2222430"/>
            <a:ext cx="10805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Headquart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grpSp>
        <p:nvGrpSpPr>
          <p:cNvPr id="259" name="组合 258"/>
          <p:cNvGrpSpPr/>
          <p:nvPr/>
        </p:nvGrpSpPr>
        <p:grpSpPr>
          <a:xfrm>
            <a:off x="9258378" y="1609022"/>
            <a:ext cx="332749" cy="208783"/>
            <a:chOff x="12354" y="8134"/>
            <a:chExt cx="612" cy="384"/>
          </a:xfrm>
        </p:grpSpPr>
        <p:pic>
          <p:nvPicPr>
            <p:cNvPr id="260" name="Picture 167"/>
            <p:cNvPicPr>
              <a:picLocks noChangeAspect="1"/>
            </p:cNvPicPr>
            <p:nvPr/>
          </p:nvPicPr>
          <p:blipFill>
            <a:blip r:embed="rId8" cstate="email"/>
            <a:stretch>
              <a:fillRect/>
            </a:stretch>
          </p:blipFill>
          <p:spPr>
            <a:xfrm>
              <a:off x="12482" y="8138"/>
              <a:ext cx="357" cy="380"/>
            </a:xfrm>
            <a:prstGeom prst="rect">
              <a:avLst/>
            </a:prstGeom>
          </p:spPr>
        </p:pic>
        <p:sp>
          <p:nvSpPr>
            <p:cNvPr id="261" name="文本框 260"/>
            <p:cNvSpPr txBox="1"/>
            <p:nvPr/>
          </p:nvSpPr>
          <p:spPr>
            <a:xfrm>
              <a:off x="12354" y="8134"/>
              <a:ext cx="612" cy="3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500" b="1" dirty="0" err="1"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EDR</a:t>
              </a:r>
              <a:endParaRPr lang="en-US" altLang="zh-CN" sz="500" b="1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62" name="组合 261"/>
          <p:cNvGrpSpPr/>
          <p:nvPr/>
        </p:nvGrpSpPr>
        <p:grpSpPr>
          <a:xfrm>
            <a:off x="9964691" y="1579127"/>
            <a:ext cx="332749" cy="208783"/>
            <a:chOff x="12354" y="8134"/>
            <a:chExt cx="612" cy="384"/>
          </a:xfrm>
        </p:grpSpPr>
        <p:pic>
          <p:nvPicPr>
            <p:cNvPr id="263" name="Picture 167"/>
            <p:cNvPicPr>
              <a:picLocks noChangeAspect="1"/>
            </p:cNvPicPr>
            <p:nvPr/>
          </p:nvPicPr>
          <p:blipFill>
            <a:blip r:embed="rId8" cstate="email"/>
            <a:stretch>
              <a:fillRect/>
            </a:stretch>
          </p:blipFill>
          <p:spPr>
            <a:xfrm>
              <a:off x="12482" y="8138"/>
              <a:ext cx="357" cy="380"/>
            </a:xfrm>
            <a:prstGeom prst="rect">
              <a:avLst/>
            </a:prstGeom>
          </p:spPr>
        </p:pic>
        <p:sp>
          <p:nvSpPr>
            <p:cNvPr id="264" name="文本框 263"/>
            <p:cNvSpPr txBox="1"/>
            <p:nvPr/>
          </p:nvSpPr>
          <p:spPr>
            <a:xfrm>
              <a:off x="12354" y="8134"/>
              <a:ext cx="612" cy="3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500" b="1" dirty="0" err="1"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EDR</a:t>
              </a:r>
              <a:endParaRPr lang="en-US" altLang="zh-CN" sz="500" b="1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265" name="图片 26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392" y="2154386"/>
            <a:ext cx="611676" cy="158020"/>
          </a:xfrm>
          <a:prstGeom prst="rect">
            <a:avLst/>
          </a:prstGeom>
        </p:spPr>
      </p:pic>
      <p:pic>
        <p:nvPicPr>
          <p:cNvPr id="266" name="图片 26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286" y="1393173"/>
            <a:ext cx="452129" cy="395627"/>
          </a:xfrm>
          <a:prstGeom prst="rect">
            <a:avLst/>
          </a:prstGeom>
        </p:spPr>
      </p:pic>
      <p:sp>
        <p:nvSpPr>
          <p:cNvPr id="267" name="文本框 266"/>
          <p:cNvSpPr txBox="1"/>
          <p:nvPr/>
        </p:nvSpPr>
        <p:spPr>
          <a:xfrm>
            <a:off x="10366777" y="1748850"/>
            <a:ext cx="1337945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iSource</a:t>
            </a:r>
            <a:br>
              <a:rPr lang="en-US" altLang="zh-CN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</a:br>
            <a:r>
              <a:rPr lang="zh-CN" altLang="en-US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（</a:t>
            </a:r>
            <a:r>
              <a:rPr lang="en-US" altLang="zh-CN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Headquarter</a:t>
            </a:r>
            <a:r>
              <a:rPr lang="zh-CN" altLang="en-US" sz="1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）</a:t>
            </a:r>
            <a:endParaRPr lang="en-US" altLang="zh-CN" sz="10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270" name="肘形连接符 269"/>
          <p:cNvCxnSpPr>
            <a:endCxn id="266" idx="1"/>
          </p:cNvCxnSpPr>
          <p:nvPr/>
        </p:nvCxnSpPr>
        <p:spPr>
          <a:xfrm flipV="1">
            <a:off x="9953116" y="1590987"/>
            <a:ext cx="845170" cy="652811"/>
          </a:xfrm>
          <a:prstGeom prst="bentConnector3">
            <a:avLst>
              <a:gd name="adj1" fmla="val 68933"/>
            </a:avLst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5" name="肘形连接符 274"/>
          <p:cNvCxnSpPr>
            <a:stCxn id="261" idx="0"/>
          </p:cNvCxnSpPr>
          <p:nvPr/>
        </p:nvCxnSpPr>
        <p:spPr>
          <a:xfrm rot="5400000" flipH="1" flipV="1">
            <a:off x="10047031" y="809220"/>
            <a:ext cx="177524" cy="1422080"/>
          </a:xfrm>
          <a:prstGeom prst="bentConnector2">
            <a:avLst/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6" name="肘形连接符 275"/>
          <p:cNvCxnSpPr>
            <a:endCxn id="261" idx="0"/>
          </p:cNvCxnSpPr>
          <p:nvPr/>
        </p:nvCxnSpPr>
        <p:spPr>
          <a:xfrm rot="10800000" flipV="1">
            <a:off x="9424753" y="1543804"/>
            <a:ext cx="1422080" cy="65217"/>
          </a:xfrm>
          <a:prstGeom prst="bentConnector2">
            <a:avLst/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6" name="肘形连接符 285"/>
          <p:cNvCxnSpPr/>
          <p:nvPr/>
        </p:nvCxnSpPr>
        <p:spPr>
          <a:xfrm flipV="1">
            <a:off x="10117907" y="1431346"/>
            <a:ext cx="728928" cy="148431"/>
          </a:xfrm>
          <a:prstGeom prst="bentConnector3">
            <a:avLst>
              <a:gd name="adj1" fmla="val 868"/>
            </a:avLst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93" name="肘形连接符 292"/>
          <p:cNvCxnSpPr>
            <a:endCxn id="264" idx="0"/>
          </p:cNvCxnSpPr>
          <p:nvPr/>
        </p:nvCxnSpPr>
        <p:spPr>
          <a:xfrm rot="10800000" flipV="1">
            <a:off x="10131067" y="1475575"/>
            <a:ext cx="739753" cy="103551"/>
          </a:xfrm>
          <a:prstGeom prst="bentConnector2">
            <a:avLst/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2" name="肘形连接符 301"/>
          <p:cNvCxnSpPr/>
          <p:nvPr/>
        </p:nvCxnSpPr>
        <p:spPr>
          <a:xfrm rot="5400000" flipH="1" flipV="1">
            <a:off x="10625131" y="1389548"/>
            <a:ext cx="30460" cy="589067"/>
          </a:xfrm>
          <a:prstGeom prst="bentConnector2">
            <a:avLst/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6" name="肘形连接符 315"/>
          <p:cNvCxnSpPr/>
          <p:nvPr/>
        </p:nvCxnSpPr>
        <p:spPr>
          <a:xfrm rot="10800000" flipV="1">
            <a:off x="9153162" y="1669200"/>
            <a:ext cx="1982196" cy="719896"/>
          </a:xfrm>
          <a:prstGeom prst="bentConnector3">
            <a:avLst>
              <a:gd name="adj1" fmla="val 7970"/>
            </a:avLst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322" name="组合 321"/>
          <p:cNvGrpSpPr>
            <a:grpSpLocks noChangeAspect="1"/>
          </p:cNvGrpSpPr>
          <p:nvPr/>
        </p:nvGrpSpPr>
        <p:grpSpPr>
          <a:xfrm>
            <a:off x="7748571" y="3569006"/>
            <a:ext cx="1008479" cy="554798"/>
            <a:chOff x="9932" y="9027"/>
            <a:chExt cx="2107" cy="1159"/>
          </a:xfrm>
        </p:grpSpPr>
        <p:sp>
          <p:nvSpPr>
            <p:cNvPr id="323" name="文本框 322"/>
            <p:cNvSpPr txBox="1"/>
            <p:nvPr/>
          </p:nvSpPr>
          <p:spPr>
            <a:xfrm>
              <a:off x="9932" y="9607"/>
              <a:ext cx="2107" cy="57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lvl="0" algn="ctr">
                <a:buClrTx/>
                <a:buSzTx/>
                <a:buFontTx/>
              </a:pPr>
              <a:r>
                <a:rPr lang="en-US" altLang="zh-CN" sz="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iSource</a:t>
              </a:r>
            </a:p>
            <a:p>
              <a:pPr lvl="0" algn="ctr">
                <a:buClrTx/>
                <a:buSzTx/>
                <a:buFontTx/>
              </a:pPr>
              <a:r>
                <a:rPr lang="zh-CN" altLang="en-US" sz="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（</a:t>
              </a:r>
              <a:r>
                <a:rPr lang="en-US" altLang="zh-CN" sz="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Branch</a:t>
              </a:r>
              <a:r>
                <a:rPr lang="zh-CN" altLang="en-US" sz="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）</a:t>
              </a:r>
            </a:p>
          </p:txBody>
        </p:sp>
        <p:pic>
          <p:nvPicPr>
            <p:cNvPr id="324" name="图片 32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07" y="9027"/>
              <a:ext cx="787" cy="688"/>
            </a:xfrm>
            <a:prstGeom prst="rect">
              <a:avLst/>
            </a:prstGeom>
          </p:spPr>
        </p:pic>
      </p:grpSp>
      <p:grpSp>
        <p:nvGrpSpPr>
          <p:cNvPr id="327" name="组合 326"/>
          <p:cNvGrpSpPr>
            <a:grpSpLocks noChangeAspect="1"/>
          </p:cNvGrpSpPr>
          <p:nvPr/>
        </p:nvGrpSpPr>
        <p:grpSpPr>
          <a:xfrm>
            <a:off x="10598911" y="3568848"/>
            <a:ext cx="1008479" cy="565807"/>
            <a:chOff x="9932" y="9004"/>
            <a:chExt cx="2107" cy="1182"/>
          </a:xfrm>
        </p:grpSpPr>
        <p:sp>
          <p:nvSpPr>
            <p:cNvPr id="328" name="文本框 327"/>
            <p:cNvSpPr txBox="1"/>
            <p:nvPr/>
          </p:nvSpPr>
          <p:spPr>
            <a:xfrm>
              <a:off x="9932" y="9607"/>
              <a:ext cx="2107" cy="57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lvl="0" algn="ctr">
                <a:buClrTx/>
                <a:buSzTx/>
                <a:buFontTx/>
              </a:pPr>
              <a:r>
                <a:rPr lang="en-US" altLang="zh-CN" sz="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iSource</a:t>
              </a:r>
            </a:p>
            <a:p>
              <a:pPr lvl="0" algn="ctr">
                <a:buClrTx/>
                <a:buSzTx/>
                <a:buFontTx/>
              </a:pPr>
              <a:r>
                <a:rPr lang="zh-CN" altLang="en-US" sz="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（</a:t>
              </a:r>
              <a:r>
                <a:rPr lang="en-US" altLang="zh-CN" sz="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Branch</a:t>
              </a:r>
              <a:r>
                <a:rPr lang="zh-CN" altLang="en-US" sz="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）</a:t>
              </a:r>
            </a:p>
          </p:txBody>
        </p:sp>
        <p:pic>
          <p:nvPicPr>
            <p:cNvPr id="329" name="图片 32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96" y="9004"/>
              <a:ext cx="741" cy="648"/>
            </a:xfrm>
            <a:prstGeom prst="rect">
              <a:avLst/>
            </a:prstGeom>
          </p:spPr>
        </p:pic>
      </p:grpSp>
      <p:pic>
        <p:nvPicPr>
          <p:cNvPr id="331" name="Picture 167"/>
          <p:cNvPicPr>
            <a:picLocks noChangeAspect="1"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7504315" y="3734708"/>
            <a:ext cx="194104" cy="206608"/>
          </a:xfrm>
          <a:prstGeom prst="rect">
            <a:avLst/>
          </a:prstGeom>
        </p:spPr>
      </p:pic>
      <p:sp>
        <p:nvSpPr>
          <p:cNvPr id="332" name="文本框 331"/>
          <p:cNvSpPr txBox="1"/>
          <p:nvPr/>
        </p:nvSpPr>
        <p:spPr>
          <a:xfrm>
            <a:off x="7434992" y="3732108"/>
            <a:ext cx="33274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b="1" dirty="0" err="1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EDR</a:t>
            </a:r>
            <a:endParaRPr lang="en-US" altLang="zh-CN" sz="500" b="1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334" name="Picture 167"/>
          <p:cNvPicPr>
            <a:picLocks noChangeAspect="1"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10334006" y="3715427"/>
            <a:ext cx="194104" cy="206608"/>
          </a:xfrm>
          <a:prstGeom prst="rect">
            <a:avLst/>
          </a:prstGeom>
        </p:spPr>
      </p:pic>
      <p:sp>
        <p:nvSpPr>
          <p:cNvPr id="333" name="文本框 332"/>
          <p:cNvSpPr txBox="1"/>
          <p:nvPr/>
        </p:nvSpPr>
        <p:spPr>
          <a:xfrm>
            <a:off x="10259788" y="3713099"/>
            <a:ext cx="33274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b="1" dirty="0" err="1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EDR</a:t>
            </a:r>
            <a:endParaRPr lang="en-US" altLang="zh-CN" sz="500" b="1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360" name="肘形连接符 359"/>
          <p:cNvCxnSpPr/>
          <p:nvPr/>
        </p:nvCxnSpPr>
        <p:spPr>
          <a:xfrm rot="16200000" flipV="1">
            <a:off x="9311298" y="2348083"/>
            <a:ext cx="118280" cy="1463723"/>
          </a:xfrm>
          <a:prstGeom prst="bentConnector2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3" name="图片 37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655" y="3386732"/>
            <a:ext cx="381234" cy="98443"/>
          </a:xfrm>
          <a:prstGeom prst="rect">
            <a:avLst/>
          </a:prstGeom>
        </p:spPr>
      </p:pic>
      <p:pic>
        <p:nvPicPr>
          <p:cNvPr id="375" name="图片 37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6462" y="3147608"/>
            <a:ext cx="671174" cy="218090"/>
          </a:xfrm>
          <a:prstGeom prst="rect">
            <a:avLst/>
          </a:prstGeom>
        </p:spPr>
      </p:pic>
      <p:sp>
        <p:nvSpPr>
          <p:cNvPr id="376" name="TextBox 74_1"/>
          <p:cNvSpPr txBox="1"/>
          <p:nvPr/>
        </p:nvSpPr>
        <p:spPr>
          <a:xfrm>
            <a:off x="9653088" y="3132906"/>
            <a:ext cx="8211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7" name="直接箭头连接符 376"/>
          <p:cNvCxnSpPr>
            <a:endCxn id="373" idx="1"/>
          </p:cNvCxnSpPr>
          <p:nvPr/>
        </p:nvCxnSpPr>
        <p:spPr>
          <a:xfrm>
            <a:off x="7292320" y="3433946"/>
            <a:ext cx="356335" cy="2008"/>
          </a:xfrm>
          <a:prstGeom prst="straightConnector1">
            <a:avLst/>
          </a:prstGeom>
          <a:ln>
            <a:solidFill>
              <a:srgbClr val="888383"/>
            </a:solidFill>
            <a:prstDash val="sys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5" name="直接箭头连接符 384"/>
          <p:cNvCxnSpPr/>
          <p:nvPr/>
        </p:nvCxnSpPr>
        <p:spPr>
          <a:xfrm>
            <a:off x="8025296" y="3479676"/>
            <a:ext cx="106606" cy="134846"/>
          </a:xfrm>
          <a:prstGeom prst="straightConnector1">
            <a:avLst/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7" name="肘形连接符 386"/>
          <p:cNvCxnSpPr>
            <a:stCxn id="324" idx="0"/>
          </p:cNvCxnSpPr>
          <p:nvPr/>
        </p:nvCxnSpPr>
        <p:spPr>
          <a:xfrm rot="16200000" flipV="1">
            <a:off x="7756354" y="3065370"/>
            <a:ext cx="341257" cy="666016"/>
          </a:xfrm>
          <a:prstGeom prst="bentConnector2">
            <a:avLst/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9" name="肘形连接符 388"/>
          <p:cNvCxnSpPr/>
          <p:nvPr/>
        </p:nvCxnSpPr>
        <p:spPr>
          <a:xfrm>
            <a:off x="7491708" y="3278796"/>
            <a:ext cx="864694" cy="445293"/>
          </a:xfrm>
          <a:prstGeom prst="bentConnector3">
            <a:avLst>
              <a:gd name="adj1" fmla="val 100000"/>
            </a:avLst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1" name="直接箭头连接符 400"/>
          <p:cNvCxnSpPr>
            <a:endCxn id="324" idx="1"/>
          </p:cNvCxnSpPr>
          <p:nvPr/>
        </p:nvCxnSpPr>
        <p:spPr>
          <a:xfrm flipV="1">
            <a:off x="7664126" y="3733675"/>
            <a:ext cx="407522" cy="92261"/>
          </a:xfrm>
          <a:prstGeom prst="straightConnector1">
            <a:avLst/>
          </a:prstGeom>
          <a:ln>
            <a:solidFill>
              <a:schemeClr val="accent2"/>
            </a:solidFill>
            <a:prstDash val="dash"/>
            <a:headEnd type="arrow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3" name="直接箭头连接符 402"/>
          <p:cNvCxnSpPr/>
          <p:nvPr/>
        </p:nvCxnSpPr>
        <p:spPr>
          <a:xfrm flipV="1">
            <a:off x="7659829" y="3754297"/>
            <a:ext cx="532417" cy="133249"/>
          </a:xfrm>
          <a:prstGeom prst="straightConnector1">
            <a:avLst/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7" name="肘形连接符 406"/>
          <p:cNvCxnSpPr>
            <a:endCxn id="267" idx="0"/>
          </p:cNvCxnSpPr>
          <p:nvPr/>
        </p:nvCxnSpPr>
        <p:spPr>
          <a:xfrm flipV="1">
            <a:off x="8297570" y="1748850"/>
            <a:ext cx="2738180" cy="1916081"/>
          </a:xfrm>
          <a:prstGeom prst="bentConnector4">
            <a:avLst>
              <a:gd name="adj1" fmla="val -63"/>
              <a:gd name="adj2" fmla="val 38358"/>
            </a:avLst>
          </a:prstGeom>
          <a:ln>
            <a:solidFill>
              <a:srgbClr val="7030A0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8" name="直接连接符 417"/>
          <p:cNvCxnSpPr/>
          <p:nvPr/>
        </p:nvCxnSpPr>
        <p:spPr>
          <a:xfrm flipV="1">
            <a:off x="10088065" y="3349891"/>
            <a:ext cx="0" cy="182341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9" name="图片 4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4400" y="3405985"/>
            <a:ext cx="381234" cy="98443"/>
          </a:xfrm>
          <a:prstGeom prst="rect">
            <a:avLst/>
          </a:prstGeom>
        </p:spPr>
      </p:pic>
      <p:cxnSp>
        <p:nvCxnSpPr>
          <p:cNvPr id="420" name="直接箭头连接符 419"/>
          <p:cNvCxnSpPr>
            <a:endCxn id="419" idx="1"/>
          </p:cNvCxnSpPr>
          <p:nvPr/>
        </p:nvCxnSpPr>
        <p:spPr>
          <a:xfrm>
            <a:off x="10088065" y="3453199"/>
            <a:ext cx="356335" cy="2008"/>
          </a:xfrm>
          <a:prstGeom prst="straightConnector1">
            <a:avLst/>
          </a:prstGeom>
          <a:ln>
            <a:solidFill>
              <a:srgbClr val="888383"/>
            </a:solidFill>
            <a:prstDash val="sys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1" name="直接箭头连接符 420"/>
          <p:cNvCxnSpPr/>
          <p:nvPr/>
        </p:nvCxnSpPr>
        <p:spPr>
          <a:xfrm>
            <a:off x="10821041" y="3498929"/>
            <a:ext cx="106606" cy="134846"/>
          </a:xfrm>
          <a:prstGeom prst="straightConnector1">
            <a:avLst/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2" name="直接箭头连接符 421"/>
          <p:cNvCxnSpPr/>
          <p:nvPr/>
        </p:nvCxnSpPr>
        <p:spPr>
          <a:xfrm flipV="1">
            <a:off x="10527645" y="3702219"/>
            <a:ext cx="407522" cy="92261"/>
          </a:xfrm>
          <a:prstGeom prst="straightConnector1">
            <a:avLst/>
          </a:prstGeom>
          <a:ln>
            <a:solidFill>
              <a:schemeClr val="accent2"/>
            </a:solidFill>
            <a:prstDash val="dash"/>
            <a:headEnd type="arrow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3" name="直接箭头连接符 422"/>
          <p:cNvCxnSpPr/>
          <p:nvPr/>
        </p:nvCxnSpPr>
        <p:spPr>
          <a:xfrm flipV="1">
            <a:off x="10509018" y="3749878"/>
            <a:ext cx="532417" cy="133249"/>
          </a:xfrm>
          <a:prstGeom prst="straightConnector1">
            <a:avLst/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4" name="肘形连接符 423"/>
          <p:cNvCxnSpPr/>
          <p:nvPr/>
        </p:nvCxnSpPr>
        <p:spPr>
          <a:xfrm rot="16200000" flipV="1">
            <a:off x="10522801" y="3065370"/>
            <a:ext cx="341257" cy="666016"/>
          </a:xfrm>
          <a:prstGeom prst="bentConnector2">
            <a:avLst/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5" name="肘形连接符 424"/>
          <p:cNvCxnSpPr/>
          <p:nvPr/>
        </p:nvCxnSpPr>
        <p:spPr>
          <a:xfrm>
            <a:off x="10258155" y="3278796"/>
            <a:ext cx="864694" cy="445293"/>
          </a:xfrm>
          <a:prstGeom prst="bentConnector3">
            <a:avLst>
              <a:gd name="adj1" fmla="val 100000"/>
            </a:avLst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02" name="图片 10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1848" y="2112260"/>
            <a:ext cx="1147586" cy="372894"/>
          </a:xfrm>
          <a:prstGeom prst="rect">
            <a:avLst/>
          </a:prstGeom>
        </p:spPr>
      </p:pic>
      <p:cxnSp>
        <p:nvCxnSpPr>
          <p:cNvPr id="426" name="肘形连接符 425"/>
          <p:cNvCxnSpPr>
            <a:stCxn id="329" idx="3"/>
          </p:cNvCxnSpPr>
          <p:nvPr/>
        </p:nvCxnSpPr>
        <p:spPr>
          <a:xfrm flipH="1" flipV="1">
            <a:off x="11036047" y="1748850"/>
            <a:ext cx="235343" cy="1975093"/>
          </a:xfrm>
          <a:prstGeom prst="bentConnector4">
            <a:avLst>
              <a:gd name="adj1" fmla="val 19427"/>
              <a:gd name="adj2" fmla="val 53926"/>
            </a:avLst>
          </a:prstGeom>
          <a:ln>
            <a:solidFill>
              <a:srgbClr val="7030A0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0" name="肘形连接符 179"/>
          <p:cNvCxnSpPr/>
          <p:nvPr/>
        </p:nvCxnSpPr>
        <p:spPr>
          <a:xfrm rot="5400000" flipH="1" flipV="1">
            <a:off x="2285623" y="2449910"/>
            <a:ext cx="107087" cy="1434363"/>
          </a:xfrm>
          <a:prstGeom prst="bentConnector2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肘形连接符 180"/>
          <p:cNvCxnSpPr/>
          <p:nvPr/>
        </p:nvCxnSpPr>
        <p:spPr>
          <a:xfrm rot="16200000" flipV="1">
            <a:off x="3572104" y="2572206"/>
            <a:ext cx="53923" cy="1122845"/>
          </a:xfrm>
          <a:prstGeom prst="bentConnector2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右箭头 158"/>
          <p:cNvSpPr/>
          <p:nvPr/>
        </p:nvSpPr>
        <p:spPr>
          <a:xfrm>
            <a:off x="5565140" y="2617691"/>
            <a:ext cx="702945" cy="26289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03" name="TextBox 74_1"/>
          <p:cNvSpPr txBox="1"/>
          <p:nvPr/>
        </p:nvSpPr>
        <p:spPr>
          <a:xfrm>
            <a:off x="2311865" y="2142861"/>
            <a:ext cx="10775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文本框 159"/>
          <p:cNvSpPr txBox="1"/>
          <p:nvPr/>
        </p:nvSpPr>
        <p:spPr>
          <a:xfrm>
            <a:off x="9001910" y="2050715"/>
            <a:ext cx="1337945" cy="2616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050" b="1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BDS</a:t>
            </a:r>
            <a:endParaRPr lang="en-US" altLang="zh-CN" sz="105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61" name="文本框 160"/>
          <p:cNvSpPr txBox="1"/>
          <p:nvPr/>
        </p:nvSpPr>
        <p:spPr>
          <a:xfrm>
            <a:off x="10289167" y="3333131"/>
            <a:ext cx="684481" cy="2000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700" b="1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BDS</a:t>
            </a:r>
            <a:endParaRPr lang="en-US" altLang="zh-CN" sz="7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62" name="文本框 161"/>
          <p:cNvSpPr txBox="1"/>
          <p:nvPr/>
        </p:nvSpPr>
        <p:spPr>
          <a:xfrm>
            <a:off x="7502044" y="3316554"/>
            <a:ext cx="684481" cy="2000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700" b="1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BDS</a:t>
            </a:r>
            <a:endParaRPr lang="en-US" altLang="zh-CN" sz="7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9254016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标题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treamline Security Operation for A Government Agency </a:t>
            </a:r>
            <a:endParaRPr lang="zh-CN" altLang="en-US" dirty="0"/>
          </a:p>
        </p:txBody>
      </p:sp>
      <p:grpSp>
        <p:nvGrpSpPr>
          <p:cNvPr id="237" name="组合 236"/>
          <p:cNvGrpSpPr/>
          <p:nvPr/>
        </p:nvGrpSpPr>
        <p:grpSpPr>
          <a:xfrm>
            <a:off x="2803733" y="3254684"/>
            <a:ext cx="974337" cy="296605"/>
            <a:chOff x="5858" y="1296"/>
            <a:chExt cx="1867" cy="567"/>
          </a:xfrm>
        </p:grpSpPr>
        <p:pic>
          <p:nvPicPr>
            <p:cNvPr id="269" name="图片 268" descr="343435333334363b333633363636343bb5e7c4d4"/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58" y="1296"/>
              <a:ext cx="567" cy="567"/>
            </a:xfrm>
            <a:prstGeom prst="rect">
              <a:avLst/>
            </a:prstGeom>
          </p:spPr>
        </p:pic>
        <p:pic>
          <p:nvPicPr>
            <p:cNvPr id="271" name="图片 270" descr="343435333334363b333633363636343bb5e7c4d4"/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58" y="1296"/>
              <a:ext cx="567" cy="567"/>
            </a:xfrm>
            <a:prstGeom prst="rect">
              <a:avLst/>
            </a:prstGeom>
          </p:spPr>
        </p:pic>
        <p:pic>
          <p:nvPicPr>
            <p:cNvPr id="272" name="图片 271" descr="343435333334363b333633363636343bb5e7c4d4"/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508" y="1296"/>
              <a:ext cx="567" cy="567"/>
            </a:xfrm>
            <a:prstGeom prst="rect">
              <a:avLst/>
            </a:prstGeom>
          </p:spPr>
        </p:pic>
      </p:grpSp>
      <p:grpSp>
        <p:nvGrpSpPr>
          <p:cNvPr id="263" name="组合 262"/>
          <p:cNvGrpSpPr/>
          <p:nvPr/>
        </p:nvGrpSpPr>
        <p:grpSpPr>
          <a:xfrm>
            <a:off x="1111964" y="3237921"/>
            <a:ext cx="1086168" cy="313079"/>
            <a:chOff x="2242" y="1298"/>
            <a:chExt cx="2538" cy="730"/>
          </a:xfrm>
        </p:grpSpPr>
        <p:pic>
          <p:nvPicPr>
            <p:cNvPr id="265" name="图片 264" descr="32303236373535333b32303238393030353bb7fecef1c6f7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42" y="1298"/>
              <a:ext cx="730" cy="730"/>
            </a:xfrm>
            <a:prstGeom prst="rect">
              <a:avLst/>
            </a:prstGeom>
          </p:spPr>
        </p:pic>
        <p:pic>
          <p:nvPicPr>
            <p:cNvPr id="266" name="图片 265" descr="32303236373535333b32303238393030353bb7fecef1c6f7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46" y="1298"/>
              <a:ext cx="730" cy="730"/>
            </a:xfrm>
            <a:prstGeom prst="rect">
              <a:avLst/>
            </a:prstGeom>
          </p:spPr>
        </p:pic>
        <p:pic>
          <p:nvPicPr>
            <p:cNvPr id="267" name="图片 266" descr="32303236373535333b32303238393030353bb7fecef1c6f7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50" y="1298"/>
              <a:ext cx="730" cy="730"/>
            </a:xfrm>
            <a:prstGeom prst="rect">
              <a:avLst/>
            </a:prstGeom>
          </p:spPr>
        </p:pic>
      </p:grpSp>
      <p:cxnSp>
        <p:nvCxnSpPr>
          <p:cNvPr id="244" name="肘形连接符 243"/>
          <p:cNvCxnSpPr>
            <a:stCxn id="384" idx="0"/>
          </p:cNvCxnSpPr>
          <p:nvPr/>
        </p:nvCxnSpPr>
        <p:spPr>
          <a:xfrm rot="16200000" flipV="1">
            <a:off x="4208060" y="2721730"/>
            <a:ext cx="174620" cy="695556"/>
          </a:xfrm>
          <a:prstGeom prst="bentConnector2">
            <a:avLst/>
          </a:prstGeom>
          <a:ln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肘形连接符 242"/>
          <p:cNvCxnSpPr/>
          <p:nvPr/>
        </p:nvCxnSpPr>
        <p:spPr>
          <a:xfrm rot="5400000" flipH="1" flipV="1">
            <a:off x="3438057" y="2654556"/>
            <a:ext cx="354752" cy="656358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直接连接符 244"/>
          <p:cNvCxnSpPr/>
          <p:nvPr/>
        </p:nvCxnSpPr>
        <p:spPr>
          <a:xfrm flipH="1" flipV="1">
            <a:off x="1672217" y="1702405"/>
            <a:ext cx="532" cy="866874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直接连接符 248"/>
          <p:cNvCxnSpPr/>
          <p:nvPr/>
        </p:nvCxnSpPr>
        <p:spPr>
          <a:xfrm flipV="1">
            <a:off x="3940061" y="1646096"/>
            <a:ext cx="0" cy="881278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肘形连接符 250"/>
          <p:cNvCxnSpPr>
            <a:endCxn id="440" idx="1"/>
          </p:cNvCxnSpPr>
          <p:nvPr/>
        </p:nvCxnSpPr>
        <p:spPr>
          <a:xfrm>
            <a:off x="1721327" y="1885462"/>
            <a:ext cx="2018545" cy="811387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文本框 251"/>
          <p:cNvSpPr txBox="1"/>
          <p:nvPr/>
        </p:nvSpPr>
        <p:spPr>
          <a:xfrm>
            <a:off x="2285980" y="2776682"/>
            <a:ext cx="958590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altLang="zh-CN" sz="800" b="1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ecure Access Platform</a:t>
            </a:r>
            <a:endParaRPr lang="zh-CN" altLang="en-US" sz="8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253" name="图片 252" descr="32313536313330373b32313536313331313bcdf8c2e7b0b2c8ab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594077" y="2518877"/>
            <a:ext cx="298653" cy="299290"/>
          </a:xfrm>
          <a:prstGeom prst="rect">
            <a:avLst/>
          </a:prstGeom>
        </p:spPr>
      </p:pic>
      <p:sp>
        <p:nvSpPr>
          <p:cNvPr id="350" name="圆角矩形 349"/>
          <p:cNvSpPr/>
          <p:nvPr/>
        </p:nvSpPr>
        <p:spPr>
          <a:xfrm>
            <a:off x="984923" y="3150123"/>
            <a:ext cx="1331400" cy="491775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354" name="图片 3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873" y="1564532"/>
            <a:ext cx="1065631" cy="413496"/>
          </a:xfrm>
          <a:prstGeom prst="rect">
            <a:avLst/>
          </a:prstGeom>
        </p:spPr>
      </p:pic>
      <p:cxnSp>
        <p:nvCxnSpPr>
          <p:cNvPr id="358" name="直接连接符 357"/>
          <p:cNvCxnSpPr/>
          <p:nvPr/>
        </p:nvCxnSpPr>
        <p:spPr>
          <a:xfrm flipH="1" flipV="1">
            <a:off x="1666470" y="2937551"/>
            <a:ext cx="4754" cy="212572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矩形 354"/>
          <p:cNvSpPr/>
          <p:nvPr/>
        </p:nvSpPr>
        <p:spPr>
          <a:xfrm>
            <a:off x="1271655" y="1644345"/>
            <a:ext cx="88843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Internet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356" name="图片 35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6236" y="1542364"/>
            <a:ext cx="1218516" cy="413496"/>
          </a:xfrm>
          <a:prstGeom prst="rect">
            <a:avLst/>
          </a:prstGeom>
        </p:spPr>
      </p:pic>
      <p:sp>
        <p:nvSpPr>
          <p:cNvPr id="357" name="矩形 356"/>
          <p:cNvSpPr/>
          <p:nvPr/>
        </p:nvSpPr>
        <p:spPr>
          <a:xfrm>
            <a:off x="3142950" y="1669671"/>
            <a:ext cx="1613923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700" b="1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Business Private Network</a:t>
            </a:r>
            <a:endParaRPr lang="zh-CN" altLang="en-US" sz="7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379" name="圆角矩形 378"/>
          <p:cNvSpPr/>
          <p:nvPr/>
        </p:nvSpPr>
        <p:spPr>
          <a:xfrm>
            <a:off x="2685427" y="3164293"/>
            <a:ext cx="1213868" cy="477605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380" name="组合 379"/>
          <p:cNvGrpSpPr/>
          <p:nvPr/>
        </p:nvGrpSpPr>
        <p:grpSpPr>
          <a:xfrm>
            <a:off x="4103801" y="3237922"/>
            <a:ext cx="1086168" cy="313079"/>
            <a:chOff x="2242" y="1298"/>
            <a:chExt cx="2538" cy="730"/>
          </a:xfrm>
        </p:grpSpPr>
        <p:pic>
          <p:nvPicPr>
            <p:cNvPr id="381" name="图片 380" descr="32303236373535333b32303238393030353bb7fecef1c6f7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42" y="1298"/>
              <a:ext cx="730" cy="730"/>
            </a:xfrm>
            <a:prstGeom prst="rect">
              <a:avLst/>
            </a:prstGeom>
          </p:spPr>
        </p:pic>
        <p:pic>
          <p:nvPicPr>
            <p:cNvPr id="382" name="图片 381" descr="32303236373535333b32303238393030353bb7fecef1c6f7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46" y="1298"/>
              <a:ext cx="730" cy="730"/>
            </a:xfrm>
            <a:prstGeom prst="rect">
              <a:avLst/>
            </a:prstGeom>
          </p:spPr>
        </p:pic>
        <p:pic>
          <p:nvPicPr>
            <p:cNvPr id="383" name="图片 382" descr="32303236373535333b32303238393030353bb7fecef1c6f7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50" y="1298"/>
              <a:ext cx="730" cy="730"/>
            </a:xfrm>
            <a:prstGeom prst="rect">
              <a:avLst/>
            </a:prstGeom>
          </p:spPr>
        </p:pic>
      </p:grpSp>
      <p:sp>
        <p:nvSpPr>
          <p:cNvPr id="384" name="圆角矩形 383"/>
          <p:cNvSpPr/>
          <p:nvPr/>
        </p:nvSpPr>
        <p:spPr>
          <a:xfrm>
            <a:off x="3977448" y="3156818"/>
            <a:ext cx="1331400" cy="491775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87" name="Rectangle: Rounded Corners 2"/>
          <p:cNvSpPr/>
          <p:nvPr/>
        </p:nvSpPr>
        <p:spPr>
          <a:xfrm>
            <a:off x="585337" y="3829220"/>
            <a:ext cx="5331276" cy="419457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bIns="91440" rtlCol="0" anchor="ctr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Pain Points</a:t>
            </a:r>
          </a:p>
        </p:txBody>
      </p:sp>
      <p:sp>
        <p:nvSpPr>
          <p:cNvPr id="388" name="Rectangle: Rounded Corners 2"/>
          <p:cNvSpPr/>
          <p:nvPr/>
        </p:nvSpPr>
        <p:spPr>
          <a:xfrm>
            <a:off x="6311900" y="3829219"/>
            <a:ext cx="5292725" cy="419457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bIns="91440" rtlCol="0" anchor="ctr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llstone Solutions</a:t>
            </a:r>
          </a:p>
        </p:txBody>
      </p:sp>
      <p:sp>
        <p:nvSpPr>
          <p:cNvPr id="389" name="Text Placeholder 3"/>
          <p:cNvSpPr txBox="1"/>
          <p:nvPr/>
        </p:nvSpPr>
        <p:spPr>
          <a:xfrm>
            <a:off x="587376" y="4417034"/>
            <a:ext cx="5329238" cy="10495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solidFill>
                  <a:schemeClr val="bg1"/>
                </a:solidFill>
              </a:rPr>
              <a:t>Customer </a:t>
            </a:r>
            <a:r>
              <a:rPr lang="en-US" altLang="zh-CN" sz="1200" dirty="0" smtClean="0">
                <a:solidFill>
                  <a:schemeClr val="bg1"/>
                </a:solidFill>
              </a:rPr>
              <a:t>relied </a:t>
            </a:r>
            <a:r>
              <a:rPr lang="en-US" altLang="zh-CN" sz="1200" dirty="0">
                <a:solidFill>
                  <a:schemeClr val="bg1"/>
                </a:solidFill>
              </a:rPr>
              <a:t>on passive threat prevention for their business </a:t>
            </a:r>
            <a:r>
              <a:rPr lang="en-US" altLang="zh-CN" sz="1200" dirty="0" smtClean="0">
                <a:solidFill>
                  <a:schemeClr val="bg1"/>
                </a:solidFill>
              </a:rPr>
              <a:t>operations;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Manual analysis of large number of security logs </a:t>
            </a:r>
            <a:r>
              <a:rPr lang="en-US" altLang="zh-CN" sz="1200" dirty="0" smtClean="0">
                <a:solidFill>
                  <a:schemeClr val="bg1"/>
                </a:solidFill>
              </a:rPr>
              <a:t>was required;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Incident response </a:t>
            </a:r>
            <a:r>
              <a:rPr lang="en-US" altLang="zh-CN" sz="1200" dirty="0" smtClean="0">
                <a:solidFill>
                  <a:schemeClr val="bg1"/>
                </a:solidFill>
              </a:rPr>
              <a:t>involved </a:t>
            </a:r>
            <a:r>
              <a:rPr lang="en-US" altLang="zh-CN" sz="1200" dirty="0">
                <a:solidFill>
                  <a:schemeClr val="bg1"/>
                </a:solidFill>
              </a:rPr>
              <a:t>multiple </a:t>
            </a:r>
            <a:r>
              <a:rPr lang="en-US" altLang="zh-CN" sz="1200" dirty="0" smtClean="0">
                <a:solidFill>
                  <a:schemeClr val="bg1"/>
                </a:solidFill>
              </a:rPr>
              <a:t>devices/systems;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Heavy workload and low efficiency in incident </a:t>
            </a:r>
            <a:r>
              <a:rPr lang="en-US" altLang="zh-CN" sz="1200" dirty="0" smtClean="0">
                <a:solidFill>
                  <a:schemeClr val="bg1"/>
                </a:solidFill>
              </a:rPr>
              <a:t>response.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390" name="Text Placeholder 3"/>
          <p:cNvSpPr txBox="1"/>
          <p:nvPr/>
        </p:nvSpPr>
        <p:spPr>
          <a:xfrm>
            <a:off x="6311900" y="4406874"/>
            <a:ext cx="5329238" cy="14198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 err="1">
                <a:solidFill>
                  <a:schemeClr val="bg1"/>
                </a:solidFill>
              </a:rPr>
              <a:t>Hillstone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iSource</a:t>
            </a:r>
            <a:r>
              <a:rPr lang="en-US" altLang="zh-CN" sz="1200" dirty="0">
                <a:solidFill>
                  <a:schemeClr val="bg1"/>
                </a:solidFill>
              </a:rPr>
              <a:t> XDR solution </a:t>
            </a:r>
            <a:r>
              <a:rPr lang="en-US" altLang="zh-CN" sz="1200" dirty="0" smtClean="0">
                <a:solidFill>
                  <a:schemeClr val="bg1"/>
                </a:solidFill>
              </a:rPr>
              <a:t>was </a:t>
            </a:r>
            <a:r>
              <a:rPr lang="en-US" altLang="zh-CN" sz="1200" dirty="0">
                <a:solidFill>
                  <a:schemeClr val="bg1"/>
                </a:solidFill>
              </a:rPr>
              <a:t>deployed at the government agency, which </a:t>
            </a:r>
            <a:r>
              <a:rPr lang="en-US" altLang="zh-CN" sz="1200" dirty="0" smtClean="0">
                <a:solidFill>
                  <a:schemeClr val="bg1"/>
                </a:solidFill>
              </a:rPr>
              <a:t>integrated </a:t>
            </a:r>
            <a:r>
              <a:rPr lang="en-US" altLang="zh-CN" sz="1200" dirty="0">
                <a:solidFill>
                  <a:schemeClr val="bg1"/>
                </a:solidFill>
              </a:rPr>
              <a:t>various security tools including NGFW and BDS, enabling unified visibility of security posture across networks, servers, and endpoints;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It </a:t>
            </a:r>
            <a:r>
              <a:rPr lang="en-US" altLang="zh-CN" sz="1200" dirty="0" smtClean="0">
                <a:solidFill>
                  <a:schemeClr val="bg1"/>
                </a:solidFill>
              </a:rPr>
              <a:t>utilized </a:t>
            </a:r>
            <a:r>
              <a:rPr lang="en-US" altLang="zh-CN" sz="1200" dirty="0">
                <a:solidFill>
                  <a:schemeClr val="bg1"/>
                </a:solidFill>
              </a:rPr>
              <a:t>pre-defined playbooks for automated incident response actions;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It also </a:t>
            </a:r>
            <a:r>
              <a:rPr lang="en-US" altLang="zh-CN" sz="1200" dirty="0" smtClean="0">
                <a:solidFill>
                  <a:schemeClr val="bg1"/>
                </a:solidFill>
              </a:rPr>
              <a:t>provided </a:t>
            </a:r>
            <a:r>
              <a:rPr lang="en-US" altLang="zh-CN" sz="1200" dirty="0">
                <a:solidFill>
                  <a:schemeClr val="bg1"/>
                </a:solidFill>
              </a:rPr>
              <a:t>advanced ML-driven analytics and detection for rapid threat detection and remediation.</a:t>
            </a:r>
          </a:p>
        </p:txBody>
      </p:sp>
      <p:pic>
        <p:nvPicPr>
          <p:cNvPr id="433" name="图片 43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677" y="2093036"/>
            <a:ext cx="1147586" cy="372894"/>
          </a:xfrm>
          <a:prstGeom prst="rect">
            <a:avLst/>
          </a:prstGeom>
        </p:spPr>
      </p:pic>
      <p:sp>
        <p:nvSpPr>
          <p:cNvPr id="434" name="TextBox 74_1"/>
          <p:cNvSpPr txBox="1"/>
          <p:nvPr/>
        </p:nvSpPr>
        <p:spPr>
          <a:xfrm>
            <a:off x="1112694" y="2123637"/>
            <a:ext cx="10775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6" name="图片 43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826" y="2600624"/>
            <a:ext cx="394908" cy="396079"/>
          </a:xfrm>
          <a:prstGeom prst="rect">
            <a:avLst/>
          </a:prstGeom>
        </p:spPr>
      </p:pic>
      <p:sp>
        <p:nvSpPr>
          <p:cNvPr id="437" name="矩形 436"/>
          <p:cNvSpPr/>
          <p:nvPr/>
        </p:nvSpPr>
        <p:spPr>
          <a:xfrm>
            <a:off x="1573049" y="2598710"/>
            <a:ext cx="10805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Core </a:t>
            </a:r>
            <a:endParaRPr lang="en-US" altLang="zh-CN" sz="1100" b="1" smtClean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  <a:p>
            <a:pPr algn="ctr"/>
            <a:r>
              <a:rPr lang="en-US" altLang="zh-CN" sz="1100" b="1" smtClean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Rout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438" name="图片 43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6236" y="2011450"/>
            <a:ext cx="1147586" cy="372894"/>
          </a:xfrm>
          <a:prstGeom prst="rect">
            <a:avLst/>
          </a:prstGeom>
        </p:spPr>
      </p:pic>
      <p:sp>
        <p:nvSpPr>
          <p:cNvPr id="439" name="TextBox 74_1"/>
          <p:cNvSpPr txBox="1"/>
          <p:nvPr/>
        </p:nvSpPr>
        <p:spPr>
          <a:xfrm>
            <a:off x="3432731" y="2040295"/>
            <a:ext cx="10775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0" name="图片 43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872" y="2498809"/>
            <a:ext cx="394908" cy="396079"/>
          </a:xfrm>
          <a:prstGeom prst="rect">
            <a:avLst/>
          </a:prstGeom>
        </p:spPr>
      </p:pic>
      <p:sp>
        <p:nvSpPr>
          <p:cNvPr id="441" name="矩形 440"/>
          <p:cNvSpPr/>
          <p:nvPr/>
        </p:nvSpPr>
        <p:spPr>
          <a:xfrm>
            <a:off x="3883843" y="2480287"/>
            <a:ext cx="10805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smtClean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Core</a:t>
            </a:r>
          </a:p>
          <a:p>
            <a:pPr algn="ctr"/>
            <a:r>
              <a:rPr lang="en-US" altLang="zh-CN" sz="1100" b="1" smtClean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 </a:t>
            </a:r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Rout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grpSp>
        <p:nvGrpSpPr>
          <p:cNvPr id="443" name="组合 442"/>
          <p:cNvGrpSpPr/>
          <p:nvPr/>
        </p:nvGrpSpPr>
        <p:grpSpPr>
          <a:xfrm>
            <a:off x="8804470" y="3247989"/>
            <a:ext cx="974337" cy="296605"/>
            <a:chOff x="5858" y="1296"/>
            <a:chExt cx="1867" cy="567"/>
          </a:xfrm>
        </p:grpSpPr>
        <p:pic>
          <p:nvPicPr>
            <p:cNvPr id="444" name="图片 443" descr="343435333334363b333633363636343bb5e7c4d4"/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58" y="1296"/>
              <a:ext cx="567" cy="567"/>
            </a:xfrm>
            <a:prstGeom prst="rect">
              <a:avLst/>
            </a:prstGeom>
          </p:spPr>
        </p:pic>
        <p:pic>
          <p:nvPicPr>
            <p:cNvPr id="445" name="图片 444" descr="343435333334363b333633363636343bb5e7c4d4"/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58" y="1296"/>
              <a:ext cx="567" cy="567"/>
            </a:xfrm>
            <a:prstGeom prst="rect">
              <a:avLst/>
            </a:prstGeom>
          </p:spPr>
        </p:pic>
        <p:pic>
          <p:nvPicPr>
            <p:cNvPr id="446" name="图片 445" descr="343435333334363b333633363636343bb5e7c4d4"/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508" y="1296"/>
              <a:ext cx="567" cy="567"/>
            </a:xfrm>
            <a:prstGeom prst="rect">
              <a:avLst/>
            </a:prstGeom>
          </p:spPr>
        </p:pic>
      </p:grpSp>
      <p:grpSp>
        <p:nvGrpSpPr>
          <p:cNvPr id="447" name="组合 446"/>
          <p:cNvGrpSpPr/>
          <p:nvPr/>
        </p:nvGrpSpPr>
        <p:grpSpPr>
          <a:xfrm>
            <a:off x="7112701" y="3231226"/>
            <a:ext cx="1086168" cy="313079"/>
            <a:chOff x="2242" y="1298"/>
            <a:chExt cx="2538" cy="730"/>
          </a:xfrm>
        </p:grpSpPr>
        <p:pic>
          <p:nvPicPr>
            <p:cNvPr id="448" name="图片 447" descr="32303236373535333b32303238393030353bb7fecef1c6f7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42" y="1298"/>
              <a:ext cx="730" cy="730"/>
            </a:xfrm>
            <a:prstGeom prst="rect">
              <a:avLst/>
            </a:prstGeom>
          </p:spPr>
        </p:pic>
        <p:pic>
          <p:nvPicPr>
            <p:cNvPr id="449" name="图片 448" descr="32303236373535333b32303238393030353bb7fecef1c6f7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46" y="1298"/>
              <a:ext cx="730" cy="730"/>
            </a:xfrm>
            <a:prstGeom prst="rect">
              <a:avLst/>
            </a:prstGeom>
          </p:spPr>
        </p:pic>
        <p:pic>
          <p:nvPicPr>
            <p:cNvPr id="450" name="图片 449" descr="32303236373535333b32303238393030353bb7fecef1c6f7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50" y="1298"/>
              <a:ext cx="730" cy="730"/>
            </a:xfrm>
            <a:prstGeom prst="rect">
              <a:avLst/>
            </a:prstGeom>
          </p:spPr>
        </p:pic>
      </p:grpSp>
      <p:cxnSp>
        <p:nvCxnSpPr>
          <p:cNvPr id="451" name="肘形连接符 450"/>
          <p:cNvCxnSpPr/>
          <p:nvPr/>
        </p:nvCxnSpPr>
        <p:spPr>
          <a:xfrm rot="16200000" flipV="1">
            <a:off x="10208797" y="2720115"/>
            <a:ext cx="174620" cy="695556"/>
          </a:xfrm>
          <a:prstGeom prst="bentConnector2">
            <a:avLst/>
          </a:prstGeom>
          <a:ln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肘形连接符 451"/>
          <p:cNvCxnSpPr/>
          <p:nvPr/>
        </p:nvCxnSpPr>
        <p:spPr>
          <a:xfrm rot="5400000" flipH="1" flipV="1">
            <a:off x="9446602" y="2651001"/>
            <a:ext cx="354752" cy="656358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3" name="直接连接符 452"/>
          <p:cNvCxnSpPr/>
          <p:nvPr/>
        </p:nvCxnSpPr>
        <p:spPr>
          <a:xfrm flipH="1" flipV="1">
            <a:off x="7672954" y="1695710"/>
            <a:ext cx="532" cy="866874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直接连接符 453"/>
          <p:cNvCxnSpPr/>
          <p:nvPr/>
        </p:nvCxnSpPr>
        <p:spPr>
          <a:xfrm flipV="1">
            <a:off x="9940798" y="1639401"/>
            <a:ext cx="0" cy="881278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肘形连接符 454"/>
          <p:cNvCxnSpPr>
            <a:endCxn id="476" idx="1"/>
          </p:cNvCxnSpPr>
          <p:nvPr/>
        </p:nvCxnSpPr>
        <p:spPr>
          <a:xfrm>
            <a:off x="7722064" y="1833047"/>
            <a:ext cx="2018545" cy="811387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7" name="图片 456" descr="32313536313330373b32313536313331313bcdf8c2e7b0b2c8ab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90325" y="2424636"/>
            <a:ext cx="298653" cy="299290"/>
          </a:xfrm>
          <a:prstGeom prst="rect">
            <a:avLst/>
          </a:prstGeom>
        </p:spPr>
      </p:pic>
      <p:sp>
        <p:nvSpPr>
          <p:cNvPr id="458" name="圆角矩形 457"/>
          <p:cNvSpPr/>
          <p:nvPr/>
        </p:nvSpPr>
        <p:spPr>
          <a:xfrm>
            <a:off x="6985660" y="3143428"/>
            <a:ext cx="1331400" cy="491775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459" name="图片 45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795" y="1532596"/>
            <a:ext cx="1065631" cy="413496"/>
          </a:xfrm>
          <a:prstGeom prst="rect">
            <a:avLst/>
          </a:prstGeom>
        </p:spPr>
      </p:pic>
      <p:cxnSp>
        <p:nvCxnSpPr>
          <p:cNvPr id="460" name="直接连接符 459"/>
          <p:cNvCxnSpPr/>
          <p:nvPr/>
        </p:nvCxnSpPr>
        <p:spPr>
          <a:xfrm flipH="1" flipV="1">
            <a:off x="7666945" y="2925800"/>
            <a:ext cx="4754" cy="212572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1" name="矩形 460"/>
          <p:cNvSpPr/>
          <p:nvPr/>
        </p:nvSpPr>
        <p:spPr>
          <a:xfrm>
            <a:off x="7253556" y="1613928"/>
            <a:ext cx="88843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Internet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464" name="圆角矩形 463"/>
          <p:cNvSpPr/>
          <p:nvPr/>
        </p:nvSpPr>
        <p:spPr>
          <a:xfrm>
            <a:off x="8686164" y="3157598"/>
            <a:ext cx="1213868" cy="477605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465" name="组合 464"/>
          <p:cNvGrpSpPr/>
          <p:nvPr/>
        </p:nvGrpSpPr>
        <p:grpSpPr>
          <a:xfrm>
            <a:off x="10104538" y="3231227"/>
            <a:ext cx="1086168" cy="313079"/>
            <a:chOff x="2242" y="1298"/>
            <a:chExt cx="2538" cy="730"/>
          </a:xfrm>
        </p:grpSpPr>
        <p:pic>
          <p:nvPicPr>
            <p:cNvPr id="466" name="图片 465" descr="32303236373535333b32303238393030353bb7fecef1c6f7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42" y="1298"/>
              <a:ext cx="730" cy="730"/>
            </a:xfrm>
            <a:prstGeom prst="rect">
              <a:avLst/>
            </a:prstGeom>
          </p:spPr>
        </p:pic>
        <p:pic>
          <p:nvPicPr>
            <p:cNvPr id="467" name="图片 466" descr="32303236373535333b32303238393030353bb7fecef1c6f7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46" y="1298"/>
              <a:ext cx="730" cy="730"/>
            </a:xfrm>
            <a:prstGeom prst="rect">
              <a:avLst/>
            </a:prstGeom>
          </p:spPr>
        </p:pic>
        <p:pic>
          <p:nvPicPr>
            <p:cNvPr id="468" name="图片 467" descr="32303236373535333b32303238393030353bb7fecef1c6f7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50" y="1298"/>
              <a:ext cx="730" cy="730"/>
            </a:xfrm>
            <a:prstGeom prst="rect">
              <a:avLst/>
            </a:prstGeom>
          </p:spPr>
        </p:pic>
      </p:grpSp>
      <p:sp>
        <p:nvSpPr>
          <p:cNvPr id="469" name="圆角矩形 468"/>
          <p:cNvSpPr/>
          <p:nvPr/>
        </p:nvSpPr>
        <p:spPr>
          <a:xfrm>
            <a:off x="9978185" y="3150123"/>
            <a:ext cx="1331400" cy="491775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470" name="图片 46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414" y="2052051"/>
            <a:ext cx="1147586" cy="372894"/>
          </a:xfrm>
          <a:prstGeom prst="rect">
            <a:avLst/>
          </a:prstGeom>
        </p:spPr>
      </p:pic>
      <p:sp>
        <p:nvSpPr>
          <p:cNvPr id="471" name="TextBox 74_1"/>
          <p:cNvSpPr txBox="1"/>
          <p:nvPr/>
        </p:nvSpPr>
        <p:spPr>
          <a:xfrm>
            <a:off x="7113431" y="2082652"/>
            <a:ext cx="10775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72" name="图片 47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563" y="2548209"/>
            <a:ext cx="394908" cy="396079"/>
          </a:xfrm>
          <a:prstGeom prst="rect">
            <a:avLst/>
          </a:prstGeom>
        </p:spPr>
      </p:pic>
      <p:pic>
        <p:nvPicPr>
          <p:cNvPr id="474" name="图片 47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6973" y="2004755"/>
            <a:ext cx="1147586" cy="372894"/>
          </a:xfrm>
          <a:prstGeom prst="rect">
            <a:avLst/>
          </a:prstGeom>
        </p:spPr>
      </p:pic>
      <p:sp>
        <p:nvSpPr>
          <p:cNvPr id="475" name="TextBox 74_1"/>
          <p:cNvSpPr txBox="1"/>
          <p:nvPr/>
        </p:nvSpPr>
        <p:spPr>
          <a:xfrm>
            <a:off x="9419927" y="2025396"/>
            <a:ext cx="10775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76" name="图片 47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0609" y="2446394"/>
            <a:ext cx="394908" cy="396079"/>
          </a:xfrm>
          <a:prstGeom prst="rect">
            <a:avLst/>
          </a:prstGeom>
        </p:spPr>
      </p:pic>
      <p:sp>
        <p:nvSpPr>
          <p:cNvPr id="477" name="矩形 476"/>
          <p:cNvSpPr/>
          <p:nvPr/>
        </p:nvSpPr>
        <p:spPr>
          <a:xfrm>
            <a:off x="9870832" y="2460166"/>
            <a:ext cx="10805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Core </a:t>
            </a:r>
            <a:endParaRPr lang="en-US" altLang="zh-CN" sz="1100" b="1" smtClean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  <a:p>
            <a:pPr algn="ctr"/>
            <a:r>
              <a:rPr lang="en-US" altLang="zh-CN" sz="1100" b="1" smtClean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Rout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479" name="图片 47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487" y="2884630"/>
            <a:ext cx="673219" cy="173919"/>
          </a:xfrm>
          <a:prstGeom prst="rect">
            <a:avLst/>
          </a:prstGeom>
        </p:spPr>
      </p:pic>
      <p:sp>
        <p:nvSpPr>
          <p:cNvPr id="480" name="文本框 479"/>
          <p:cNvSpPr txBox="1"/>
          <p:nvPr/>
        </p:nvSpPr>
        <p:spPr>
          <a:xfrm>
            <a:off x="6303007" y="2795195"/>
            <a:ext cx="1337945" cy="2616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050" b="1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BDS</a:t>
            </a:r>
            <a:endParaRPr lang="en-US" altLang="zh-CN" sz="105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481" name="直接箭头连接符 480"/>
          <p:cNvCxnSpPr/>
          <p:nvPr/>
        </p:nvCxnSpPr>
        <p:spPr>
          <a:xfrm flipH="1" flipV="1">
            <a:off x="7268907" y="3040976"/>
            <a:ext cx="390313" cy="2861"/>
          </a:xfrm>
          <a:prstGeom prst="straightConnector1">
            <a:avLst/>
          </a:prstGeom>
          <a:ln>
            <a:solidFill>
              <a:schemeClr val="bg1"/>
            </a:solidFill>
            <a:prstDash val="sys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88" name="图片 48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1006" y="2779450"/>
            <a:ext cx="673219" cy="173919"/>
          </a:xfrm>
          <a:prstGeom prst="rect">
            <a:avLst/>
          </a:prstGeom>
        </p:spPr>
      </p:pic>
      <p:sp>
        <p:nvSpPr>
          <p:cNvPr id="489" name="文本框 488"/>
          <p:cNvSpPr txBox="1"/>
          <p:nvPr/>
        </p:nvSpPr>
        <p:spPr>
          <a:xfrm>
            <a:off x="8246846" y="2689373"/>
            <a:ext cx="1337945" cy="2616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050" b="1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BDS</a:t>
            </a:r>
            <a:endParaRPr lang="en-US" altLang="zh-CN" sz="105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490" name="直接箭头连接符 489"/>
          <p:cNvCxnSpPr/>
          <p:nvPr/>
        </p:nvCxnSpPr>
        <p:spPr>
          <a:xfrm flipH="1">
            <a:off x="9229678" y="2873660"/>
            <a:ext cx="708230" cy="0"/>
          </a:xfrm>
          <a:prstGeom prst="straightConnector1">
            <a:avLst/>
          </a:prstGeom>
          <a:ln>
            <a:solidFill>
              <a:schemeClr val="bg1"/>
            </a:solidFill>
            <a:prstDash val="sys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93" name="图片 49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8517" y="1967999"/>
            <a:ext cx="452129" cy="395627"/>
          </a:xfrm>
          <a:prstGeom prst="rect">
            <a:avLst/>
          </a:prstGeom>
        </p:spPr>
      </p:pic>
      <p:sp>
        <p:nvSpPr>
          <p:cNvPr id="494" name="文本框 493"/>
          <p:cNvSpPr txBox="1"/>
          <p:nvPr/>
        </p:nvSpPr>
        <p:spPr>
          <a:xfrm>
            <a:off x="10820374" y="2331338"/>
            <a:ext cx="832116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000" b="1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iSource</a:t>
            </a:r>
            <a:endParaRPr lang="en-US" altLang="zh-CN" sz="10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495" name="肘形连接符 494"/>
          <p:cNvCxnSpPr>
            <a:stCxn id="493" idx="0"/>
            <a:endCxn id="470" idx="0"/>
          </p:cNvCxnSpPr>
          <p:nvPr/>
        </p:nvCxnSpPr>
        <p:spPr>
          <a:xfrm rot="16200000" flipH="1" flipV="1">
            <a:off x="9413869" y="221337"/>
            <a:ext cx="84052" cy="3577375"/>
          </a:xfrm>
          <a:prstGeom prst="bentConnector3">
            <a:avLst>
              <a:gd name="adj1" fmla="val -4533"/>
            </a:avLst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98" name="肘形连接符 497"/>
          <p:cNvCxnSpPr/>
          <p:nvPr/>
        </p:nvCxnSpPr>
        <p:spPr>
          <a:xfrm rot="10800000">
            <a:off x="10448768" y="2162008"/>
            <a:ext cx="585733" cy="126489"/>
          </a:xfrm>
          <a:prstGeom prst="bentConnector3">
            <a:avLst>
              <a:gd name="adj1" fmla="val 50000"/>
            </a:avLst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507" name="Picture 167"/>
          <p:cNvPicPr>
            <a:picLocks noChangeAspect="1"/>
          </p:cNvPicPr>
          <p:nvPr/>
        </p:nvPicPr>
        <p:blipFill>
          <a:blip r:embed="rId18" cstate="email"/>
          <a:stretch>
            <a:fillRect/>
          </a:stretch>
        </p:blipFill>
        <p:spPr>
          <a:xfrm>
            <a:off x="9022462" y="3273574"/>
            <a:ext cx="194104" cy="206608"/>
          </a:xfrm>
          <a:prstGeom prst="rect">
            <a:avLst/>
          </a:prstGeom>
        </p:spPr>
      </p:pic>
      <p:sp>
        <p:nvSpPr>
          <p:cNvPr id="508" name="文本框 507"/>
          <p:cNvSpPr txBox="1"/>
          <p:nvPr/>
        </p:nvSpPr>
        <p:spPr>
          <a:xfrm>
            <a:off x="8948244" y="3271246"/>
            <a:ext cx="33274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b="1" dirty="0" err="1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EDR</a:t>
            </a:r>
            <a:endParaRPr lang="en-US" altLang="zh-CN" sz="500" b="1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509" name="Picture 167"/>
          <p:cNvPicPr>
            <a:picLocks noChangeAspect="1"/>
          </p:cNvPicPr>
          <p:nvPr/>
        </p:nvPicPr>
        <p:blipFill>
          <a:blip r:embed="rId18" cstate="email"/>
          <a:stretch>
            <a:fillRect/>
          </a:stretch>
        </p:blipFill>
        <p:spPr>
          <a:xfrm>
            <a:off x="9368100" y="3273574"/>
            <a:ext cx="194104" cy="206608"/>
          </a:xfrm>
          <a:prstGeom prst="rect">
            <a:avLst/>
          </a:prstGeom>
        </p:spPr>
      </p:pic>
      <p:sp>
        <p:nvSpPr>
          <p:cNvPr id="510" name="文本框 509"/>
          <p:cNvSpPr txBox="1"/>
          <p:nvPr/>
        </p:nvSpPr>
        <p:spPr>
          <a:xfrm>
            <a:off x="9293882" y="3271246"/>
            <a:ext cx="33274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b="1" dirty="0" err="1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EDR</a:t>
            </a:r>
            <a:endParaRPr lang="en-US" altLang="zh-CN" sz="500" b="1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511" name="Picture 167"/>
          <p:cNvPicPr>
            <a:picLocks noChangeAspect="1"/>
          </p:cNvPicPr>
          <p:nvPr/>
        </p:nvPicPr>
        <p:blipFill>
          <a:blip r:embed="rId18" cstate="email"/>
          <a:stretch>
            <a:fillRect/>
          </a:stretch>
        </p:blipFill>
        <p:spPr>
          <a:xfrm>
            <a:off x="10343354" y="3285339"/>
            <a:ext cx="194104" cy="206608"/>
          </a:xfrm>
          <a:prstGeom prst="rect">
            <a:avLst/>
          </a:prstGeom>
        </p:spPr>
      </p:pic>
      <p:sp>
        <p:nvSpPr>
          <p:cNvPr id="512" name="文本框 511"/>
          <p:cNvSpPr txBox="1"/>
          <p:nvPr/>
        </p:nvSpPr>
        <p:spPr>
          <a:xfrm>
            <a:off x="10269136" y="3283011"/>
            <a:ext cx="33274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b="1" dirty="0" err="1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EDR</a:t>
            </a:r>
            <a:endParaRPr lang="en-US" altLang="zh-CN" sz="500" b="1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513" name="Picture 167"/>
          <p:cNvPicPr>
            <a:picLocks noChangeAspect="1"/>
          </p:cNvPicPr>
          <p:nvPr/>
        </p:nvPicPr>
        <p:blipFill>
          <a:blip r:embed="rId18" cstate="email"/>
          <a:stretch>
            <a:fillRect/>
          </a:stretch>
        </p:blipFill>
        <p:spPr>
          <a:xfrm>
            <a:off x="10736767" y="3292035"/>
            <a:ext cx="194104" cy="206608"/>
          </a:xfrm>
          <a:prstGeom prst="rect">
            <a:avLst/>
          </a:prstGeom>
        </p:spPr>
      </p:pic>
      <p:sp>
        <p:nvSpPr>
          <p:cNvPr id="514" name="文本框 513"/>
          <p:cNvSpPr txBox="1"/>
          <p:nvPr/>
        </p:nvSpPr>
        <p:spPr>
          <a:xfrm>
            <a:off x="10662549" y="3289707"/>
            <a:ext cx="33274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b="1" dirty="0" err="1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EDR</a:t>
            </a:r>
            <a:endParaRPr lang="en-US" altLang="zh-CN" sz="500" b="1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515" name="肘形连接符 514"/>
          <p:cNvCxnSpPr/>
          <p:nvPr/>
        </p:nvCxnSpPr>
        <p:spPr>
          <a:xfrm rot="5400000">
            <a:off x="10540734" y="2535028"/>
            <a:ext cx="1007011" cy="427345"/>
          </a:xfrm>
          <a:prstGeom prst="bentConnector3">
            <a:avLst>
              <a:gd name="adj1" fmla="val 50000"/>
            </a:avLst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20" name="肘形连接符 519"/>
          <p:cNvCxnSpPr>
            <a:endCxn id="509" idx="2"/>
          </p:cNvCxnSpPr>
          <p:nvPr/>
        </p:nvCxnSpPr>
        <p:spPr>
          <a:xfrm rot="10800000" flipV="1">
            <a:off x="9465153" y="2234180"/>
            <a:ext cx="1980383" cy="1246001"/>
          </a:xfrm>
          <a:prstGeom prst="bentConnector4">
            <a:avLst>
              <a:gd name="adj1" fmla="val 3301"/>
              <a:gd name="adj2" fmla="val 109479"/>
            </a:avLst>
          </a:prstGeom>
          <a:ln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29" name="肘形连接符 528"/>
          <p:cNvCxnSpPr/>
          <p:nvPr/>
        </p:nvCxnSpPr>
        <p:spPr>
          <a:xfrm rot="5400000" flipH="1" flipV="1">
            <a:off x="8694965" y="570634"/>
            <a:ext cx="743755" cy="4264452"/>
          </a:xfrm>
          <a:prstGeom prst="bentConnector5">
            <a:avLst>
              <a:gd name="adj1" fmla="val -2561"/>
              <a:gd name="adj2" fmla="val 52965"/>
              <a:gd name="adj3" fmla="val -1941"/>
            </a:avLst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60" name="肘形连接符 559"/>
          <p:cNvCxnSpPr>
            <a:stCxn id="488" idx="2"/>
          </p:cNvCxnSpPr>
          <p:nvPr/>
        </p:nvCxnSpPr>
        <p:spPr>
          <a:xfrm rot="5400000" flipH="1" flipV="1">
            <a:off x="9712373" y="1532922"/>
            <a:ext cx="615690" cy="2225204"/>
          </a:xfrm>
          <a:prstGeom prst="bentConnector4">
            <a:avLst>
              <a:gd name="adj1" fmla="val -12995"/>
              <a:gd name="adj2" fmla="val 100027"/>
            </a:avLst>
          </a:prstGeom>
          <a:ln>
            <a:solidFill>
              <a:schemeClr val="accent6"/>
            </a:solidFill>
            <a:prstDash val="dash"/>
            <a:tailEnd type="arrow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79" name="矩形 578"/>
          <p:cNvSpPr/>
          <p:nvPr/>
        </p:nvSpPr>
        <p:spPr>
          <a:xfrm>
            <a:off x="7764584" y="2538735"/>
            <a:ext cx="68977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b="1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Core </a:t>
            </a:r>
            <a:endParaRPr lang="en-US" altLang="zh-CN" sz="1100" b="1" smtClean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  <a:p>
            <a:pPr algn="ctr"/>
            <a:r>
              <a:rPr lang="en-US" altLang="zh-CN" sz="1100" b="1" smtClean="0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Router</a:t>
            </a:r>
            <a:endParaRPr lang="zh-CN" altLang="en-US" sz="11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580" name="文本框 579"/>
          <p:cNvSpPr txBox="1"/>
          <p:nvPr/>
        </p:nvSpPr>
        <p:spPr>
          <a:xfrm>
            <a:off x="8823300" y="2348249"/>
            <a:ext cx="958590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altLang="zh-CN" sz="800" b="1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ecure Access Platform</a:t>
            </a:r>
            <a:endParaRPr lang="zh-CN" altLang="en-US" sz="8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582" name="图片 58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9071" y="1533303"/>
            <a:ext cx="1218516" cy="413496"/>
          </a:xfrm>
          <a:prstGeom prst="rect">
            <a:avLst/>
          </a:prstGeom>
        </p:spPr>
      </p:pic>
      <p:sp>
        <p:nvSpPr>
          <p:cNvPr id="583" name="矩形 582"/>
          <p:cNvSpPr/>
          <p:nvPr/>
        </p:nvSpPr>
        <p:spPr>
          <a:xfrm>
            <a:off x="9125785" y="1660610"/>
            <a:ext cx="1613923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700" b="1">
                <a:solidFill>
                  <a:schemeClr val="bg1"/>
                </a:solidFill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rPr>
              <a:t>Business Private Network</a:t>
            </a:r>
            <a:endParaRPr lang="zh-CN" altLang="en-US" sz="700" b="1" dirty="0">
              <a:solidFill>
                <a:schemeClr val="bg1"/>
              </a:solidFill>
              <a:latin typeface="Arial" panose="020B0604020202020204" pitchFamily="34" charset="0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584" name="右箭头 583"/>
          <p:cNvSpPr/>
          <p:nvPr/>
        </p:nvSpPr>
        <p:spPr>
          <a:xfrm>
            <a:off x="5565140" y="2617691"/>
            <a:ext cx="702945" cy="26289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7928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11847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What Do Customers Need?</a:t>
            </a:r>
          </a:p>
        </p:txBody>
      </p:sp>
      <p:sp>
        <p:nvSpPr>
          <p:cNvPr id="5" name="表格占位符 4"/>
          <p:cNvSpPr>
            <a:spLocks noGrp="1"/>
          </p:cNvSpPr>
          <p:nvPr>
            <p:ph type="tbl" sz="quarter" idx="10"/>
          </p:nvPr>
        </p:nvSpPr>
        <p:spPr/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B1E57A99-FF59-4D85-9DDA-8638A96383CD}"/>
              </a:ext>
            </a:extLst>
          </p:cNvPr>
          <p:cNvSpPr/>
          <p:nvPr/>
        </p:nvSpPr>
        <p:spPr>
          <a:xfrm>
            <a:off x="0" y="1371599"/>
            <a:ext cx="12192000" cy="4902201"/>
          </a:xfrm>
          <a:prstGeom prst="rect">
            <a:avLst/>
          </a:prstGeom>
          <a:solidFill>
            <a:srgbClr val="003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Oval 13">
            <a:extLst>
              <a:ext uri="{FF2B5EF4-FFF2-40B4-BE49-F238E27FC236}">
                <a16:creationId xmlns="" xmlns:a16="http://schemas.microsoft.com/office/drawing/2014/main" id="{C269F4B3-1271-41FD-BAC0-04919410DE1D}"/>
              </a:ext>
            </a:extLst>
          </p:cNvPr>
          <p:cNvSpPr/>
          <p:nvPr/>
        </p:nvSpPr>
        <p:spPr>
          <a:xfrm>
            <a:off x="3793117" y="1535246"/>
            <a:ext cx="4605766" cy="45749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BC0F92BD-1CEE-4BFC-A89B-A9727EFFB8A3}"/>
              </a:ext>
            </a:extLst>
          </p:cNvPr>
          <p:cNvSpPr txBox="1"/>
          <p:nvPr/>
        </p:nvSpPr>
        <p:spPr>
          <a:xfrm>
            <a:off x="593725" y="2592988"/>
            <a:ext cx="2916035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me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at Intelli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erability rep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B978EDDD-C054-4BDB-9B8E-D8D5433E599B}"/>
              </a:ext>
            </a:extLst>
          </p:cNvPr>
          <p:cNvSpPr txBox="1"/>
          <p:nvPr/>
        </p:nvSpPr>
        <p:spPr>
          <a:xfrm>
            <a:off x="593725" y="4761795"/>
            <a:ext cx="291603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points/S</a:t>
            </a: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vers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/</a:t>
            </a: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  <a:r>
              <a:rPr lang="es-MX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s/Services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A77135C-B014-4A66-9FB4-3EDDDE7D2E54}"/>
              </a:ext>
            </a:extLst>
          </p:cNvPr>
          <p:cNvSpPr/>
          <p:nvPr/>
        </p:nvSpPr>
        <p:spPr>
          <a:xfrm>
            <a:off x="593725" y="2017066"/>
            <a:ext cx="2921459" cy="43455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x-non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ehensive Data Collection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BD909380-0A8B-43BE-A39A-CDD65DA045D6}"/>
              </a:ext>
            </a:extLst>
          </p:cNvPr>
          <p:cNvSpPr/>
          <p:nvPr/>
        </p:nvSpPr>
        <p:spPr>
          <a:xfrm>
            <a:off x="593725" y="4203561"/>
            <a:ext cx="2916035" cy="43455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x-non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visibilit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8D02C8A6-FBBF-4386-A7BB-28D140D1505C}"/>
              </a:ext>
            </a:extLst>
          </p:cNvPr>
          <p:cNvSpPr txBox="1"/>
          <p:nvPr/>
        </p:nvSpPr>
        <p:spPr>
          <a:xfrm>
            <a:off x="8678542" y="2592988"/>
            <a:ext cx="2935292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at det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avior 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lysis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lation 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lysis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t cause and atta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 </a:t>
            </a: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433076BD-CEF5-4C64-9B18-83DB920C503E}"/>
              </a:ext>
            </a:extLst>
          </p:cNvPr>
          <p:cNvSpPr txBox="1"/>
          <p:nvPr/>
        </p:nvSpPr>
        <p:spPr>
          <a:xfrm>
            <a:off x="8678542" y="4766558"/>
            <a:ext cx="2921459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 </a:t>
            </a: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 aggre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x-non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ion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book driven respon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 response enfor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t cas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CDD11B64-8B03-4541-845B-6328AC260729}"/>
              </a:ext>
            </a:extLst>
          </p:cNvPr>
          <p:cNvSpPr/>
          <p:nvPr/>
        </p:nvSpPr>
        <p:spPr>
          <a:xfrm>
            <a:off x="8678542" y="2021829"/>
            <a:ext cx="2935292" cy="43455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x-non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at Hunting and Analysi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546BE0C-7764-48A2-8303-C057477012B3}"/>
              </a:ext>
            </a:extLst>
          </p:cNvPr>
          <p:cNvSpPr/>
          <p:nvPr/>
        </p:nvSpPr>
        <p:spPr>
          <a:xfrm>
            <a:off x="8678542" y="4208324"/>
            <a:ext cx="2935292" cy="43455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x-non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ed Response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="" xmlns:a16="http://schemas.microsoft.com/office/drawing/2014/main" id="{26908593-2F1A-476E-9282-EFE01795E97D}"/>
              </a:ext>
            </a:extLst>
          </p:cNvPr>
          <p:cNvSpPr txBox="1"/>
          <p:nvPr/>
        </p:nvSpPr>
        <p:spPr>
          <a:xfrm>
            <a:off x="5347127" y="1729797"/>
            <a:ext cx="149774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x-none" b="1" dirty="0"/>
              <a:t>Correlation Analysis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="" xmlns:a16="http://schemas.microsoft.com/office/drawing/2014/main" id="{8E619876-1739-4B03-961A-ADE4751D7384}"/>
              </a:ext>
            </a:extLst>
          </p:cNvPr>
          <p:cNvSpPr txBox="1"/>
          <p:nvPr/>
        </p:nvSpPr>
        <p:spPr>
          <a:xfrm>
            <a:off x="5265477" y="5477847"/>
            <a:ext cx="16610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x-none" sz="1400" b="1" dirty="0">
                <a:solidFill>
                  <a:srgbClr val="0030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Detections</a:t>
            </a:r>
          </a:p>
        </p:txBody>
      </p:sp>
      <p:sp>
        <p:nvSpPr>
          <p:cNvPr id="235" name="Oval 234">
            <a:extLst>
              <a:ext uri="{FF2B5EF4-FFF2-40B4-BE49-F238E27FC236}">
                <a16:creationId xmlns="" xmlns:a16="http://schemas.microsoft.com/office/drawing/2014/main" id="{EBE673CA-1549-4A03-928A-3187864B9DE0}"/>
              </a:ext>
            </a:extLst>
          </p:cNvPr>
          <p:cNvSpPr/>
          <p:nvPr/>
        </p:nvSpPr>
        <p:spPr>
          <a:xfrm>
            <a:off x="4392171" y="2462761"/>
            <a:ext cx="2176698" cy="2283114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pSp>
        <p:nvGrpSpPr>
          <p:cNvPr id="384" name="Group 383">
            <a:extLst>
              <a:ext uri="{FF2B5EF4-FFF2-40B4-BE49-F238E27FC236}">
                <a16:creationId xmlns="" xmlns:a16="http://schemas.microsoft.com/office/drawing/2014/main" id="{CE0ACA3F-B3B6-4BD3-9632-3514B2240854}"/>
              </a:ext>
            </a:extLst>
          </p:cNvPr>
          <p:cNvGrpSpPr/>
          <p:nvPr/>
        </p:nvGrpSpPr>
        <p:grpSpPr>
          <a:xfrm>
            <a:off x="3966644" y="2323143"/>
            <a:ext cx="4253513" cy="2999189"/>
            <a:chOff x="3966644" y="2120455"/>
            <a:chExt cx="4253513" cy="2999189"/>
          </a:xfrm>
        </p:grpSpPr>
        <p:sp>
          <p:nvSpPr>
            <p:cNvPr id="245" name="Oval 244">
              <a:extLst>
                <a:ext uri="{FF2B5EF4-FFF2-40B4-BE49-F238E27FC236}">
                  <a16:creationId xmlns="" xmlns:a16="http://schemas.microsoft.com/office/drawing/2014/main" id="{6E24C6D8-0155-4305-9066-CAC441092066}"/>
                </a:ext>
              </a:extLst>
            </p:cNvPr>
            <p:cNvSpPr/>
            <p:nvPr/>
          </p:nvSpPr>
          <p:spPr>
            <a:xfrm>
              <a:off x="4959623" y="2120455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Oval 247">
              <a:extLst>
                <a:ext uri="{FF2B5EF4-FFF2-40B4-BE49-F238E27FC236}">
                  <a16:creationId xmlns="" xmlns:a16="http://schemas.microsoft.com/office/drawing/2014/main" id="{A98C6083-F76A-414D-A9E3-3CCF69C82016}"/>
                </a:ext>
              </a:extLst>
            </p:cNvPr>
            <p:cNvSpPr/>
            <p:nvPr/>
          </p:nvSpPr>
          <p:spPr>
            <a:xfrm>
              <a:off x="6921808" y="2120455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6" name="Oval 235">
              <a:extLst>
                <a:ext uri="{FF2B5EF4-FFF2-40B4-BE49-F238E27FC236}">
                  <a16:creationId xmlns="" xmlns:a16="http://schemas.microsoft.com/office/drawing/2014/main" id="{1CD8790C-AFD1-4723-B5D3-FEA9A58C3959}"/>
                </a:ext>
              </a:extLst>
            </p:cNvPr>
            <p:cNvSpPr/>
            <p:nvPr/>
          </p:nvSpPr>
          <p:spPr>
            <a:xfrm>
              <a:off x="6268253" y="2120455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="" xmlns:a16="http://schemas.microsoft.com/office/drawing/2014/main" id="{F371B615-53FD-4439-8CAF-D12776F7D5D5}"/>
                </a:ext>
              </a:extLst>
            </p:cNvPr>
            <p:cNvGrpSpPr/>
            <p:nvPr/>
          </p:nvGrpSpPr>
          <p:grpSpPr>
            <a:xfrm>
              <a:off x="5610870" y="2120455"/>
              <a:ext cx="322958" cy="322958"/>
              <a:chOff x="5556348" y="2198499"/>
              <a:chExt cx="322958" cy="322958"/>
            </a:xfrm>
          </p:grpSpPr>
          <p:sp>
            <p:nvSpPr>
              <p:cNvPr id="242" name="Oval 241">
                <a:extLst>
                  <a:ext uri="{FF2B5EF4-FFF2-40B4-BE49-F238E27FC236}">
                    <a16:creationId xmlns="" xmlns:a16="http://schemas.microsoft.com/office/drawing/2014/main" id="{AD9957E7-054B-4793-8E44-BEA30F732F83}"/>
                  </a:ext>
                </a:extLst>
              </p:cNvPr>
              <p:cNvSpPr/>
              <p:nvPr/>
            </p:nvSpPr>
            <p:spPr>
              <a:xfrm>
                <a:off x="5556348" y="2198499"/>
                <a:ext cx="322958" cy="322958"/>
              </a:xfrm>
              <a:prstGeom prst="ellipse">
                <a:avLst/>
              </a:prstGeom>
              <a:noFill/>
              <a:ln w="6350">
                <a:solidFill>
                  <a:srgbClr val="00A4D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43" name="图片 7">
                <a:extLst>
                  <a:ext uri="{FF2B5EF4-FFF2-40B4-BE49-F238E27FC236}">
                    <a16:creationId xmlns="" xmlns:a16="http://schemas.microsoft.com/office/drawing/2014/main" id="{E721974A-0AAF-4A92-AE93-3EFB1D907E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623023" y="2265175"/>
                <a:ext cx="189608" cy="189606"/>
              </a:xfrm>
              <a:prstGeom prst="rect">
                <a:avLst/>
              </a:prstGeom>
            </p:spPr>
          </p:pic>
        </p:grpSp>
        <p:sp>
          <p:nvSpPr>
            <p:cNvPr id="253" name="矩形 20">
              <a:extLst>
                <a:ext uri="{FF2B5EF4-FFF2-40B4-BE49-F238E27FC236}">
                  <a16:creationId xmlns="" xmlns:a16="http://schemas.microsoft.com/office/drawing/2014/main" id="{B1648C2C-4D73-42B4-8634-F97DA28AAD34}"/>
                </a:ext>
              </a:extLst>
            </p:cNvPr>
            <p:cNvSpPr/>
            <p:nvPr/>
          </p:nvSpPr>
          <p:spPr>
            <a:xfrm>
              <a:off x="4878981" y="2480359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Mobile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54" name="cell-phone_191">
              <a:extLst>
                <a:ext uri="{FF2B5EF4-FFF2-40B4-BE49-F238E27FC236}">
                  <a16:creationId xmlns="" xmlns:a16="http://schemas.microsoft.com/office/drawing/2014/main" id="{9ACBC80B-0E7E-4C2F-998F-0DE05FC6A37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69194" y="2190765"/>
              <a:ext cx="103816" cy="182338"/>
            </a:xfrm>
            <a:custGeom>
              <a:avLst/>
              <a:gdLst>
                <a:gd name="T0" fmla="*/ 181 w 208"/>
                <a:gd name="T1" fmla="*/ 0 h 366"/>
                <a:gd name="T2" fmla="*/ 27 w 208"/>
                <a:gd name="T3" fmla="*/ 0 h 366"/>
                <a:gd name="T4" fmla="*/ 0 w 208"/>
                <a:gd name="T5" fmla="*/ 27 h 366"/>
                <a:gd name="T6" fmla="*/ 0 w 208"/>
                <a:gd name="T7" fmla="*/ 339 h 366"/>
                <a:gd name="T8" fmla="*/ 27 w 208"/>
                <a:gd name="T9" fmla="*/ 366 h 366"/>
                <a:gd name="T10" fmla="*/ 181 w 208"/>
                <a:gd name="T11" fmla="*/ 366 h 366"/>
                <a:gd name="T12" fmla="*/ 208 w 208"/>
                <a:gd name="T13" fmla="*/ 339 h 366"/>
                <a:gd name="T14" fmla="*/ 208 w 208"/>
                <a:gd name="T15" fmla="*/ 27 h 366"/>
                <a:gd name="T16" fmla="*/ 181 w 208"/>
                <a:gd name="T17" fmla="*/ 0 h 366"/>
                <a:gd name="T18" fmla="*/ 66 w 208"/>
                <a:gd name="T19" fmla="*/ 16 h 366"/>
                <a:gd name="T20" fmla="*/ 142 w 208"/>
                <a:gd name="T21" fmla="*/ 16 h 366"/>
                <a:gd name="T22" fmla="*/ 145 w 208"/>
                <a:gd name="T23" fmla="*/ 23 h 366"/>
                <a:gd name="T24" fmla="*/ 142 w 208"/>
                <a:gd name="T25" fmla="*/ 29 h 366"/>
                <a:gd name="T26" fmla="*/ 66 w 208"/>
                <a:gd name="T27" fmla="*/ 29 h 366"/>
                <a:gd name="T28" fmla="*/ 62 w 208"/>
                <a:gd name="T29" fmla="*/ 23 h 366"/>
                <a:gd name="T30" fmla="*/ 66 w 208"/>
                <a:gd name="T31" fmla="*/ 16 h 366"/>
                <a:gd name="T32" fmla="*/ 104 w 208"/>
                <a:gd name="T33" fmla="*/ 340 h 366"/>
                <a:gd name="T34" fmla="*/ 87 w 208"/>
                <a:gd name="T35" fmla="*/ 323 h 366"/>
                <a:gd name="T36" fmla="*/ 104 w 208"/>
                <a:gd name="T37" fmla="*/ 306 h 366"/>
                <a:gd name="T38" fmla="*/ 121 w 208"/>
                <a:gd name="T39" fmla="*/ 323 h 366"/>
                <a:gd name="T40" fmla="*/ 104 w 208"/>
                <a:gd name="T41" fmla="*/ 340 h 366"/>
                <a:gd name="T42" fmla="*/ 188 w 208"/>
                <a:gd name="T43" fmla="*/ 281 h 366"/>
                <a:gd name="T44" fmla="*/ 20 w 208"/>
                <a:gd name="T45" fmla="*/ 281 h 366"/>
                <a:gd name="T46" fmla="*/ 20 w 208"/>
                <a:gd name="T47" fmla="*/ 45 h 366"/>
                <a:gd name="T48" fmla="*/ 188 w 208"/>
                <a:gd name="T49" fmla="*/ 45 h 366"/>
                <a:gd name="T50" fmla="*/ 188 w 208"/>
                <a:gd name="T51" fmla="*/ 281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366">
                  <a:moveTo>
                    <a:pt x="181" y="0"/>
                  </a:moveTo>
                  <a:lnTo>
                    <a:pt x="27" y="0"/>
                  </a:lnTo>
                  <a:cubicBezTo>
                    <a:pt x="12" y="0"/>
                    <a:pt x="0" y="12"/>
                    <a:pt x="0" y="27"/>
                  </a:cubicBezTo>
                  <a:lnTo>
                    <a:pt x="0" y="339"/>
                  </a:lnTo>
                  <a:cubicBezTo>
                    <a:pt x="0" y="354"/>
                    <a:pt x="12" y="366"/>
                    <a:pt x="27" y="366"/>
                  </a:cubicBezTo>
                  <a:lnTo>
                    <a:pt x="181" y="366"/>
                  </a:lnTo>
                  <a:cubicBezTo>
                    <a:pt x="196" y="366"/>
                    <a:pt x="208" y="354"/>
                    <a:pt x="208" y="339"/>
                  </a:cubicBezTo>
                  <a:lnTo>
                    <a:pt x="208" y="27"/>
                  </a:lnTo>
                  <a:cubicBezTo>
                    <a:pt x="208" y="12"/>
                    <a:pt x="196" y="0"/>
                    <a:pt x="181" y="0"/>
                  </a:cubicBezTo>
                  <a:close/>
                  <a:moveTo>
                    <a:pt x="66" y="16"/>
                  </a:moveTo>
                  <a:lnTo>
                    <a:pt x="142" y="16"/>
                  </a:lnTo>
                  <a:cubicBezTo>
                    <a:pt x="144" y="16"/>
                    <a:pt x="145" y="19"/>
                    <a:pt x="145" y="23"/>
                  </a:cubicBezTo>
                  <a:cubicBezTo>
                    <a:pt x="145" y="26"/>
                    <a:pt x="144" y="29"/>
                    <a:pt x="142" y="29"/>
                  </a:cubicBezTo>
                  <a:lnTo>
                    <a:pt x="66" y="29"/>
                  </a:lnTo>
                  <a:cubicBezTo>
                    <a:pt x="64" y="29"/>
                    <a:pt x="62" y="26"/>
                    <a:pt x="62" y="23"/>
                  </a:cubicBezTo>
                  <a:cubicBezTo>
                    <a:pt x="62" y="19"/>
                    <a:pt x="64" y="16"/>
                    <a:pt x="66" y="16"/>
                  </a:cubicBezTo>
                  <a:close/>
                  <a:moveTo>
                    <a:pt x="104" y="340"/>
                  </a:moveTo>
                  <a:cubicBezTo>
                    <a:pt x="95" y="340"/>
                    <a:pt x="87" y="332"/>
                    <a:pt x="87" y="323"/>
                  </a:cubicBezTo>
                  <a:cubicBezTo>
                    <a:pt x="87" y="313"/>
                    <a:pt x="95" y="306"/>
                    <a:pt x="104" y="306"/>
                  </a:cubicBezTo>
                  <a:cubicBezTo>
                    <a:pt x="113" y="306"/>
                    <a:pt x="121" y="313"/>
                    <a:pt x="121" y="323"/>
                  </a:cubicBezTo>
                  <a:cubicBezTo>
                    <a:pt x="121" y="332"/>
                    <a:pt x="113" y="340"/>
                    <a:pt x="104" y="340"/>
                  </a:cubicBezTo>
                  <a:close/>
                  <a:moveTo>
                    <a:pt x="188" y="281"/>
                  </a:moveTo>
                  <a:lnTo>
                    <a:pt x="20" y="281"/>
                  </a:lnTo>
                  <a:lnTo>
                    <a:pt x="20" y="45"/>
                  </a:lnTo>
                  <a:lnTo>
                    <a:pt x="188" y="45"/>
                  </a:lnTo>
                  <a:lnTo>
                    <a:pt x="188" y="281"/>
                  </a:lnTo>
                  <a:close/>
                </a:path>
              </a:pathLst>
            </a:custGeom>
            <a:solidFill>
              <a:srgbClr val="00A4D4"/>
            </a:solidFill>
            <a:ln>
              <a:noFill/>
            </a:ln>
          </p:spPr>
          <p:txBody>
            <a:bodyPr/>
            <a:lstStyle/>
            <a:p>
              <a:endParaRPr lang="x-none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5" name="矩形 20">
              <a:extLst>
                <a:ext uri="{FF2B5EF4-FFF2-40B4-BE49-F238E27FC236}">
                  <a16:creationId xmlns="" xmlns:a16="http://schemas.microsoft.com/office/drawing/2014/main" id="{8241688F-FEB6-4257-8C9D-6DB3617EA92C}"/>
                </a:ext>
              </a:extLst>
            </p:cNvPr>
            <p:cNvSpPr/>
            <p:nvPr/>
          </p:nvSpPr>
          <p:spPr>
            <a:xfrm>
              <a:off x="5527291" y="2480359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zh-CN" altLang="en-US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NGFW</a:t>
              </a:r>
            </a:p>
          </p:txBody>
        </p:sp>
        <p:sp>
          <p:nvSpPr>
            <p:cNvPr id="256" name="矩形 20">
              <a:extLst>
                <a:ext uri="{FF2B5EF4-FFF2-40B4-BE49-F238E27FC236}">
                  <a16:creationId xmlns="" xmlns:a16="http://schemas.microsoft.com/office/drawing/2014/main" id="{F12BA9EC-6B40-4549-BD2F-D4C48BD6F8B6}"/>
                </a:ext>
              </a:extLst>
            </p:cNvPr>
            <p:cNvSpPr/>
            <p:nvPr/>
          </p:nvSpPr>
          <p:spPr>
            <a:xfrm>
              <a:off x="6184674" y="2480359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Laptop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57" name="矩形 20">
              <a:extLst>
                <a:ext uri="{FF2B5EF4-FFF2-40B4-BE49-F238E27FC236}">
                  <a16:creationId xmlns="" xmlns:a16="http://schemas.microsoft.com/office/drawing/2014/main" id="{E798897E-C70F-41B2-B4BB-E07DDD7D5DCA}"/>
                </a:ext>
              </a:extLst>
            </p:cNvPr>
            <p:cNvSpPr/>
            <p:nvPr/>
          </p:nvSpPr>
          <p:spPr>
            <a:xfrm>
              <a:off x="6838228" y="2480359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IDPS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258" name="图片 51">
              <a:extLst>
                <a:ext uri="{FF2B5EF4-FFF2-40B4-BE49-F238E27FC236}">
                  <a16:creationId xmlns="" xmlns:a16="http://schemas.microsoft.com/office/drawing/2014/main" id="{53A5175F-76EF-44C8-9EDC-A9D97CB2D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34928" y="2221201"/>
              <a:ext cx="192754" cy="125710"/>
            </a:xfrm>
            <a:prstGeom prst="rect">
              <a:avLst/>
            </a:prstGeom>
          </p:spPr>
        </p:pic>
        <p:pic>
          <p:nvPicPr>
            <p:cNvPr id="259" name="图片 11">
              <a:extLst>
                <a:ext uri="{FF2B5EF4-FFF2-40B4-BE49-F238E27FC236}">
                  <a16:creationId xmlns="" xmlns:a16="http://schemas.microsoft.com/office/drawing/2014/main" id="{CA628BDD-E841-45D2-AC79-4E7C907FC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88483" y="2187131"/>
              <a:ext cx="189606" cy="189606"/>
            </a:xfrm>
            <a:prstGeom prst="rect">
              <a:avLst/>
            </a:prstGeom>
          </p:spPr>
        </p:pic>
        <p:sp>
          <p:nvSpPr>
            <p:cNvPr id="260" name="Oval 259">
              <a:extLst>
                <a:ext uri="{FF2B5EF4-FFF2-40B4-BE49-F238E27FC236}">
                  <a16:creationId xmlns="" xmlns:a16="http://schemas.microsoft.com/office/drawing/2014/main" id="{5EF9EB2E-379F-4E01-8EE4-80A40B90EAA7}"/>
                </a:ext>
              </a:extLst>
            </p:cNvPr>
            <p:cNvSpPr/>
            <p:nvPr/>
          </p:nvSpPr>
          <p:spPr>
            <a:xfrm>
              <a:off x="4317934" y="269851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1" name="Oval 260">
              <a:extLst>
                <a:ext uri="{FF2B5EF4-FFF2-40B4-BE49-F238E27FC236}">
                  <a16:creationId xmlns="" xmlns:a16="http://schemas.microsoft.com/office/drawing/2014/main" id="{D5F1ECBE-054C-4EDC-B17B-6B24B77B1370}"/>
                </a:ext>
              </a:extLst>
            </p:cNvPr>
            <p:cNvSpPr/>
            <p:nvPr/>
          </p:nvSpPr>
          <p:spPr>
            <a:xfrm>
              <a:off x="6262594" y="269851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3" name="Oval 262">
              <a:extLst>
                <a:ext uri="{FF2B5EF4-FFF2-40B4-BE49-F238E27FC236}">
                  <a16:creationId xmlns="" xmlns:a16="http://schemas.microsoft.com/office/drawing/2014/main" id="{A4D488C1-4D1F-47B7-9593-F5543EE9127C}"/>
                </a:ext>
              </a:extLst>
            </p:cNvPr>
            <p:cNvSpPr/>
            <p:nvPr/>
          </p:nvSpPr>
          <p:spPr>
            <a:xfrm>
              <a:off x="5617666" y="269851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5" name="Oval 264">
              <a:extLst>
                <a:ext uri="{FF2B5EF4-FFF2-40B4-BE49-F238E27FC236}">
                  <a16:creationId xmlns="" xmlns:a16="http://schemas.microsoft.com/office/drawing/2014/main" id="{1FE56136-6D75-4B1A-8B7C-AD1DA04888B4}"/>
                </a:ext>
              </a:extLst>
            </p:cNvPr>
            <p:cNvSpPr/>
            <p:nvPr/>
          </p:nvSpPr>
          <p:spPr>
            <a:xfrm>
              <a:off x="4966154" y="269851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7" name="矩形 20">
              <a:extLst>
                <a:ext uri="{FF2B5EF4-FFF2-40B4-BE49-F238E27FC236}">
                  <a16:creationId xmlns="" xmlns:a16="http://schemas.microsoft.com/office/drawing/2014/main" id="{0032E640-CEF0-4C28-B0AB-3D2F6A984132}"/>
                </a:ext>
              </a:extLst>
            </p:cNvPr>
            <p:cNvSpPr/>
            <p:nvPr/>
          </p:nvSpPr>
          <p:spPr>
            <a:xfrm>
              <a:off x="4234355" y="307036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x-none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WAF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69" name="矩形 20">
              <a:extLst>
                <a:ext uri="{FF2B5EF4-FFF2-40B4-BE49-F238E27FC236}">
                  <a16:creationId xmlns="" xmlns:a16="http://schemas.microsoft.com/office/drawing/2014/main" id="{2C5A1901-AC66-437F-AFFE-C34C1C177442}"/>
                </a:ext>
              </a:extLst>
            </p:cNvPr>
            <p:cNvSpPr/>
            <p:nvPr/>
          </p:nvSpPr>
          <p:spPr>
            <a:xfrm>
              <a:off x="4925853" y="3070362"/>
              <a:ext cx="422864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Container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70" name="矩形 20">
              <a:extLst>
                <a:ext uri="{FF2B5EF4-FFF2-40B4-BE49-F238E27FC236}">
                  <a16:creationId xmlns="" xmlns:a16="http://schemas.microsoft.com/office/drawing/2014/main" id="{3F9EF584-4589-4DEC-BEBF-AB57ACDBE149}"/>
                </a:ext>
              </a:extLst>
            </p:cNvPr>
            <p:cNvSpPr/>
            <p:nvPr/>
          </p:nvSpPr>
          <p:spPr>
            <a:xfrm>
              <a:off x="5534087" y="307036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Container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71" name="矩形 20">
              <a:extLst>
                <a:ext uri="{FF2B5EF4-FFF2-40B4-BE49-F238E27FC236}">
                  <a16:creationId xmlns="" xmlns:a16="http://schemas.microsoft.com/office/drawing/2014/main" id="{1C5AACB0-C28C-42AA-8ED6-5C61F80F0EFE}"/>
                </a:ext>
              </a:extLst>
            </p:cNvPr>
            <p:cNvSpPr/>
            <p:nvPr/>
          </p:nvSpPr>
          <p:spPr>
            <a:xfrm>
              <a:off x="6184673" y="307036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Routers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74" name="Oval 273">
              <a:extLst>
                <a:ext uri="{FF2B5EF4-FFF2-40B4-BE49-F238E27FC236}">
                  <a16:creationId xmlns="" xmlns:a16="http://schemas.microsoft.com/office/drawing/2014/main" id="{19B81D4D-78D9-494F-B5B5-1DC9B52503C1}"/>
                </a:ext>
              </a:extLst>
            </p:cNvPr>
            <p:cNvSpPr/>
            <p:nvPr/>
          </p:nvSpPr>
          <p:spPr>
            <a:xfrm>
              <a:off x="6910814" y="269851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6" name="Oval 275">
              <a:extLst>
                <a:ext uri="{FF2B5EF4-FFF2-40B4-BE49-F238E27FC236}">
                  <a16:creationId xmlns="" xmlns:a16="http://schemas.microsoft.com/office/drawing/2014/main" id="{B8FEA1D3-DF59-47D2-A598-778033F5B25E}"/>
                </a:ext>
              </a:extLst>
            </p:cNvPr>
            <p:cNvSpPr/>
            <p:nvPr/>
          </p:nvSpPr>
          <p:spPr>
            <a:xfrm>
              <a:off x="7559035" y="269851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7" name="矩形 20">
              <a:extLst>
                <a:ext uri="{FF2B5EF4-FFF2-40B4-BE49-F238E27FC236}">
                  <a16:creationId xmlns="" xmlns:a16="http://schemas.microsoft.com/office/drawing/2014/main" id="{C096C299-7B27-4045-B7F3-76346E83712E}"/>
                </a:ext>
              </a:extLst>
            </p:cNvPr>
            <p:cNvSpPr/>
            <p:nvPr/>
          </p:nvSpPr>
          <p:spPr>
            <a:xfrm>
              <a:off x="6827323" y="307036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Mac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79" name="矩形 20">
              <a:extLst>
                <a:ext uri="{FF2B5EF4-FFF2-40B4-BE49-F238E27FC236}">
                  <a16:creationId xmlns="" xmlns:a16="http://schemas.microsoft.com/office/drawing/2014/main" id="{1BE77464-B293-4DA4-9335-18BA69E581DD}"/>
                </a:ext>
              </a:extLst>
            </p:cNvPr>
            <p:cNvSpPr/>
            <p:nvPr/>
          </p:nvSpPr>
          <p:spPr>
            <a:xfrm>
              <a:off x="7475456" y="307036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Servers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280" name="图片 23">
              <a:extLst>
                <a:ext uri="{FF2B5EF4-FFF2-40B4-BE49-F238E27FC236}">
                  <a16:creationId xmlns="" xmlns:a16="http://schemas.microsoft.com/office/drawing/2014/main" id="{2F4E5F09-A496-4DF3-B829-53E5521362D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86718" y="2767995"/>
              <a:ext cx="185316" cy="185316"/>
            </a:xfrm>
            <a:prstGeom prst="rect">
              <a:avLst/>
            </a:prstGeom>
          </p:spPr>
        </p:pic>
        <p:pic>
          <p:nvPicPr>
            <p:cNvPr id="281" name="图片 3">
              <a:extLst>
                <a:ext uri="{FF2B5EF4-FFF2-40B4-BE49-F238E27FC236}">
                  <a16:creationId xmlns="" xmlns:a16="http://schemas.microsoft.com/office/drawing/2014/main" id="{1D9D2889-D8D7-424B-8B3F-D33E82D93E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925" y="2768576"/>
              <a:ext cx="191135" cy="191632"/>
            </a:xfrm>
            <a:prstGeom prst="rect">
              <a:avLst/>
            </a:prstGeom>
          </p:spPr>
        </p:pic>
        <p:pic>
          <p:nvPicPr>
            <p:cNvPr id="282" name="图片 3">
              <a:extLst>
                <a:ext uri="{FF2B5EF4-FFF2-40B4-BE49-F238E27FC236}">
                  <a16:creationId xmlns="" xmlns:a16="http://schemas.microsoft.com/office/drawing/2014/main" id="{D538CFEC-CB88-4469-8C1D-443B9B96475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5250" y="2768576"/>
              <a:ext cx="191135" cy="191632"/>
            </a:xfrm>
            <a:prstGeom prst="rect">
              <a:avLst/>
            </a:prstGeom>
          </p:spPr>
        </p:pic>
        <p:pic>
          <p:nvPicPr>
            <p:cNvPr id="283" name="图片 31">
              <a:extLst>
                <a:ext uri="{FF2B5EF4-FFF2-40B4-BE49-F238E27FC236}">
                  <a16:creationId xmlns="" xmlns:a16="http://schemas.microsoft.com/office/drawing/2014/main" id="{BF161B81-A066-4BB0-B3DB-4FEDA16FDD7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9789" y="2779120"/>
              <a:ext cx="138669" cy="166187"/>
            </a:xfrm>
            <a:prstGeom prst="rect">
              <a:avLst/>
            </a:prstGeom>
          </p:spPr>
        </p:pic>
        <p:pic>
          <p:nvPicPr>
            <p:cNvPr id="284" name="图片 16">
              <a:extLst>
                <a:ext uri="{FF2B5EF4-FFF2-40B4-BE49-F238E27FC236}">
                  <a16:creationId xmlns="" xmlns:a16="http://schemas.microsoft.com/office/drawing/2014/main" id="{564E5A4C-FCC7-445A-A2EE-9E120A58F5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623962" y="2767119"/>
              <a:ext cx="185751" cy="185751"/>
            </a:xfrm>
            <a:prstGeom prst="rect">
              <a:avLst/>
            </a:prstGeom>
          </p:spPr>
        </p:pic>
        <p:pic>
          <p:nvPicPr>
            <p:cNvPr id="285" name="图片 20">
              <a:extLst>
                <a:ext uri="{FF2B5EF4-FFF2-40B4-BE49-F238E27FC236}">
                  <a16:creationId xmlns="" xmlns:a16="http://schemas.microsoft.com/office/drawing/2014/main" id="{015A3317-3D8D-44E4-9392-568B2FF2B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329779" y="2771223"/>
              <a:ext cx="183332" cy="185165"/>
            </a:xfrm>
            <a:prstGeom prst="rect">
              <a:avLst/>
            </a:prstGeom>
          </p:spPr>
        </p:pic>
        <p:sp>
          <p:nvSpPr>
            <p:cNvPr id="286" name="Oval 285">
              <a:extLst>
                <a:ext uri="{FF2B5EF4-FFF2-40B4-BE49-F238E27FC236}">
                  <a16:creationId xmlns="" xmlns:a16="http://schemas.microsoft.com/office/drawing/2014/main" id="{5B3CAC70-610D-45D7-BF63-46D52D807C14}"/>
                </a:ext>
              </a:extLst>
            </p:cNvPr>
            <p:cNvSpPr/>
            <p:nvPr/>
          </p:nvSpPr>
          <p:spPr>
            <a:xfrm>
              <a:off x="4050223" y="3317623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7" name="Oval 286">
              <a:extLst>
                <a:ext uri="{FF2B5EF4-FFF2-40B4-BE49-F238E27FC236}">
                  <a16:creationId xmlns="" xmlns:a16="http://schemas.microsoft.com/office/drawing/2014/main" id="{072AF9D3-D7EA-4961-B96D-017A988D87A1}"/>
                </a:ext>
              </a:extLst>
            </p:cNvPr>
            <p:cNvSpPr/>
            <p:nvPr/>
          </p:nvSpPr>
          <p:spPr>
            <a:xfrm>
              <a:off x="5931922" y="3317623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8" name="Oval 287">
              <a:extLst>
                <a:ext uri="{FF2B5EF4-FFF2-40B4-BE49-F238E27FC236}">
                  <a16:creationId xmlns="" xmlns:a16="http://schemas.microsoft.com/office/drawing/2014/main" id="{A6FC19B5-4B3C-48BC-A4D1-398893B525ED}"/>
                </a:ext>
              </a:extLst>
            </p:cNvPr>
            <p:cNvSpPr/>
            <p:nvPr/>
          </p:nvSpPr>
          <p:spPr>
            <a:xfrm>
              <a:off x="5304689" y="3317623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9" name="Oval 288">
              <a:extLst>
                <a:ext uri="{FF2B5EF4-FFF2-40B4-BE49-F238E27FC236}">
                  <a16:creationId xmlns="" xmlns:a16="http://schemas.microsoft.com/office/drawing/2014/main" id="{E91524B8-5EBF-4911-AC64-06A74D09B5A5}"/>
                </a:ext>
              </a:extLst>
            </p:cNvPr>
            <p:cNvSpPr/>
            <p:nvPr/>
          </p:nvSpPr>
          <p:spPr>
            <a:xfrm>
              <a:off x="4677456" y="3317623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0" name="矩形 20">
              <a:extLst>
                <a:ext uri="{FF2B5EF4-FFF2-40B4-BE49-F238E27FC236}">
                  <a16:creationId xmlns="" xmlns:a16="http://schemas.microsoft.com/office/drawing/2014/main" id="{ABF2128F-26A8-4183-B8CD-CB32B60EAF85}"/>
                </a:ext>
              </a:extLst>
            </p:cNvPr>
            <p:cNvSpPr/>
            <p:nvPr/>
          </p:nvSpPr>
          <p:spPr>
            <a:xfrm>
              <a:off x="3966644" y="370914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Servers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91" name="矩形 20">
              <a:extLst>
                <a:ext uri="{FF2B5EF4-FFF2-40B4-BE49-F238E27FC236}">
                  <a16:creationId xmlns="" xmlns:a16="http://schemas.microsoft.com/office/drawing/2014/main" id="{F914BDF2-72AC-4FBE-85CA-DD9642710B4B}"/>
                </a:ext>
              </a:extLst>
            </p:cNvPr>
            <p:cNvSpPr/>
            <p:nvPr/>
          </p:nvSpPr>
          <p:spPr>
            <a:xfrm>
              <a:off x="4629826" y="3709142"/>
              <a:ext cx="422864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Vehicles</a:t>
              </a:r>
            </a:p>
          </p:txBody>
        </p:sp>
        <p:sp>
          <p:nvSpPr>
            <p:cNvPr id="292" name="矩形 20">
              <a:extLst>
                <a:ext uri="{FF2B5EF4-FFF2-40B4-BE49-F238E27FC236}">
                  <a16:creationId xmlns="" xmlns:a16="http://schemas.microsoft.com/office/drawing/2014/main" id="{6453C28C-860E-4D4D-BE39-3C2C40C652A0}"/>
                </a:ext>
              </a:extLst>
            </p:cNvPr>
            <p:cNvSpPr/>
            <p:nvPr/>
          </p:nvSpPr>
          <p:spPr>
            <a:xfrm>
              <a:off x="5227571" y="370914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PC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93" name="矩形 20">
              <a:extLst>
                <a:ext uri="{FF2B5EF4-FFF2-40B4-BE49-F238E27FC236}">
                  <a16:creationId xmlns="" xmlns:a16="http://schemas.microsoft.com/office/drawing/2014/main" id="{4A31DBC0-5D1C-4DFF-8B25-0F73BE6F0B41}"/>
                </a:ext>
              </a:extLst>
            </p:cNvPr>
            <p:cNvSpPr/>
            <p:nvPr/>
          </p:nvSpPr>
          <p:spPr>
            <a:xfrm>
              <a:off x="5841481" y="370914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Mobile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="" xmlns:a16="http://schemas.microsoft.com/office/drawing/2014/main" id="{DD7BFA2A-1F91-4644-8D7E-70C118599739}"/>
                </a:ext>
              </a:extLst>
            </p:cNvPr>
            <p:cNvSpPr/>
            <p:nvPr/>
          </p:nvSpPr>
          <p:spPr>
            <a:xfrm>
              <a:off x="6559155" y="3317623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5" name="Oval 294">
              <a:extLst>
                <a:ext uri="{FF2B5EF4-FFF2-40B4-BE49-F238E27FC236}">
                  <a16:creationId xmlns="" xmlns:a16="http://schemas.microsoft.com/office/drawing/2014/main" id="{0A2FE7C8-FC60-4F59-814C-D7117B42331E}"/>
                </a:ext>
              </a:extLst>
            </p:cNvPr>
            <p:cNvSpPr/>
            <p:nvPr/>
          </p:nvSpPr>
          <p:spPr>
            <a:xfrm>
              <a:off x="7186388" y="3317623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6" name="矩形 20">
              <a:extLst>
                <a:ext uri="{FF2B5EF4-FFF2-40B4-BE49-F238E27FC236}">
                  <a16:creationId xmlns="" xmlns:a16="http://schemas.microsoft.com/office/drawing/2014/main" id="{B4F20A6F-087F-48FE-912C-BC29BFA33AE4}"/>
                </a:ext>
              </a:extLst>
            </p:cNvPr>
            <p:cNvSpPr/>
            <p:nvPr/>
          </p:nvSpPr>
          <p:spPr>
            <a:xfrm>
              <a:off x="6474314" y="3709142"/>
              <a:ext cx="490117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Connected Cameras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97" name="矩形 20">
              <a:extLst>
                <a:ext uri="{FF2B5EF4-FFF2-40B4-BE49-F238E27FC236}">
                  <a16:creationId xmlns="" xmlns:a16="http://schemas.microsoft.com/office/drawing/2014/main" id="{2913C203-73D3-40BD-8EE6-CC05C8246BB5}"/>
                </a:ext>
              </a:extLst>
            </p:cNvPr>
            <p:cNvSpPr/>
            <p:nvPr/>
          </p:nvSpPr>
          <p:spPr>
            <a:xfrm>
              <a:off x="7092054" y="370914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x-none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Wireless</a:t>
              </a:r>
              <a:r>
                <a:rPr lang="zh-CN" altLang="en-US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AP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04" name="Oval 303">
              <a:extLst>
                <a:ext uri="{FF2B5EF4-FFF2-40B4-BE49-F238E27FC236}">
                  <a16:creationId xmlns="" xmlns:a16="http://schemas.microsoft.com/office/drawing/2014/main" id="{6411932E-CF6A-4964-AF92-1F107EBEA4FF}"/>
                </a:ext>
              </a:extLst>
            </p:cNvPr>
            <p:cNvSpPr/>
            <p:nvPr/>
          </p:nvSpPr>
          <p:spPr>
            <a:xfrm>
              <a:off x="7813619" y="3319024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5" name="矩形 20">
              <a:extLst>
                <a:ext uri="{FF2B5EF4-FFF2-40B4-BE49-F238E27FC236}">
                  <a16:creationId xmlns="" xmlns:a16="http://schemas.microsoft.com/office/drawing/2014/main" id="{CCDC44DF-4C4E-4F7D-99B9-AA7A1DC16A42}"/>
                </a:ext>
              </a:extLst>
            </p:cNvPr>
            <p:cNvSpPr/>
            <p:nvPr/>
          </p:nvSpPr>
          <p:spPr>
            <a:xfrm>
              <a:off x="7730040" y="370914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IDPS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308" name="图片 50">
              <a:extLst>
                <a:ext uri="{FF2B5EF4-FFF2-40B4-BE49-F238E27FC236}">
                  <a16:creationId xmlns="" xmlns:a16="http://schemas.microsoft.com/office/drawing/2014/main" id="{CAA6BEFA-E361-40DD-8A33-0A2AD0411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4746" y="3425897"/>
              <a:ext cx="155018" cy="127662"/>
            </a:xfrm>
            <a:prstGeom prst="rect">
              <a:avLst/>
            </a:prstGeom>
          </p:spPr>
        </p:pic>
        <p:sp>
          <p:nvSpPr>
            <p:cNvPr id="309" name="sedan-car-side-black-silhouette_31586">
              <a:extLst>
                <a:ext uri="{FF2B5EF4-FFF2-40B4-BE49-F238E27FC236}">
                  <a16:creationId xmlns="" xmlns:a16="http://schemas.microsoft.com/office/drawing/2014/main" id="{79D91BBB-8740-46D1-9692-07E99AEDFEB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31548" y="3425919"/>
              <a:ext cx="228075" cy="102404"/>
            </a:xfrm>
            <a:custGeom>
              <a:avLst/>
              <a:gdLst>
                <a:gd name="T0" fmla="*/ 6810 w 7137"/>
                <a:gd name="T1" fmla="*/ 1885 h 3209"/>
                <a:gd name="T2" fmla="*/ 5181 w 7137"/>
                <a:gd name="T3" fmla="*/ 1462 h 3209"/>
                <a:gd name="T4" fmla="*/ 742 w 7137"/>
                <a:gd name="T5" fmla="*/ 1563 h 3209"/>
                <a:gd name="T6" fmla="*/ 53 w 7137"/>
                <a:gd name="T7" fmla="*/ 2057 h 3209"/>
                <a:gd name="T8" fmla="*/ 488 w 7137"/>
                <a:gd name="T9" fmla="*/ 2679 h 3209"/>
                <a:gd name="T10" fmla="*/ 1067 w 7137"/>
                <a:gd name="T11" fmla="*/ 3209 h 3209"/>
                <a:gd name="T12" fmla="*/ 1646 w 7137"/>
                <a:gd name="T13" fmla="*/ 2685 h 3209"/>
                <a:gd name="T14" fmla="*/ 1912 w 7137"/>
                <a:gd name="T15" fmla="*/ 2685 h 3209"/>
                <a:gd name="T16" fmla="*/ 5181 w 7137"/>
                <a:gd name="T17" fmla="*/ 2685 h 3209"/>
                <a:gd name="T18" fmla="*/ 5760 w 7137"/>
                <a:gd name="T19" fmla="*/ 3209 h 3209"/>
                <a:gd name="T20" fmla="*/ 6339 w 7137"/>
                <a:gd name="T21" fmla="*/ 2685 h 3209"/>
                <a:gd name="T22" fmla="*/ 6724 w 7137"/>
                <a:gd name="T23" fmla="*/ 2685 h 3209"/>
                <a:gd name="T24" fmla="*/ 6810 w 7137"/>
                <a:gd name="T25" fmla="*/ 1885 h 3209"/>
                <a:gd name="T26" fmla="*/ 1362 w 7137"/>
                <a:gd name="T27" fmla="*/ 1519 h 3209"/>
                <a:gd name="T28" fmla="*/ 2745 w 7137"/>
                <a:gd name="T29" fmla="*/ 938 h 3209"/>
                <a:gd name="T30" fmla="*/ 2745 w 7137"/>
                <a:gd name="T31" fmla="*/ 1535 h 3209"/>
                <a:gd name="T32" fmla="*/ 1362 w 7137"/>
                <a:gd name="T33" fmla="*/ 1519 h 3209"/>
                <a:gd name="T34" fmla="*/ 2986 w 7137"/>
                <a:gd name="T35" fmla="*/ 1534 h 3209"/>
                <a:gd name="T36" fmla="*/ 2986 w 7137"/>
                <a:gd name="T37" fmla="*/ 939 h 3209"/>
                <a:gd name="T38" fmla="*/ 4679 w 7137"/>
                <a:gd name="T39" fmla="*/ 1519 h 3209"/>
                <a:gd name="T40" fmla="*/ 2986 w 7137"/>
                <a:gd name="T41" fmla="*/ 1534 h 3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137" h="3209">
                  <a:moveTo>
                    <a:pt x="6810" y="1885"/>
                  </a:moveTo>
                  <a:cubicBezTo>
                    <a:pt x="6810" y="1571"/>
                    <a:pt x="5693" y="1517"/>
                    <a:pt x="5181" y="1462"/>
                  </a:cubicBezTo>
                  <a:cubicBezTo>
                    <a:pt x="2905" y="0"/>
                    <a:pt x="1267" y="1053"/>
                    <a:pt x="742" y="1563"/>
                  </a:cubicBezTo>
                  <a:cubicBezTo>
                    <a:pt x="343" y="1823"/>
                    <a:pt x="53" y="1511"/>
                    <a:pt x="53" y="2057"/>
                  </a:cubicBezTo>
                  <a:cubicBezTo>
                    <a:pt x="53" y="2524"/>
                    <a:pt x="0" y="2651"/>
                    <a:pt x="488" y="2679"/>
                  </a:cubicBezTo>
                  <a:cubicBezTo>
                    <a:pt x="514" y="2976"/>
                    <a:pt x="763" y="3209"/>
                    <a:pt x="1067" y="3209"/>
                  </a:cubicBezTo>
                  <a:cubicBezTo>
                    <a:pt x="1369" y="3209"/>
                    <a:pt x="1617" y="2979"/>
                    <a:pt x="1646" y="2685"/>
                  </a:cubicBezTo>
                  <a:lnTo>
                    <a:pt x="1912" y="2685"/>
                  </a:lnTo>
                  <a:lnTo>
                    <a:pt x="5181" y="2685"/>
                  </a:lnTo>
                  <a:cubicBezTo>
                    <a:pt x="5211" y="2979"/>
                    <a:pt x="5458" y="3209"/>
                    <a:pt x="5760" y="3209"/>
                  </a:cubicBezTo>
                  <a:cubicBezTo>
                    <a:pt x="6062" y="3209"/>
                    <a:pt x="6310" y="2979"/>
                    <a:pt x="6339" y="2685"/>
                  </a:cubicBezTo>
                  <a:lnTo>
                    <a:pt x="6724" y="2685"/>
                  </a:lnTo>
                  <a:cubicBezTo>
                    <a:pt x="7137" y="2685"/>
                    <a:pt x="6810" y="2757"/>
                    <a:pt x="6810" y="1885"/>
                  </a:cubicBezTo>
                  <a:close/>
                  <a:moveTo>
                    <a:pt x="1362" y="1519"/>
                  </a:moveTo>
                  <a:cubicBezTo>
                    <a:pt x="1802" y="1114"/>
                    <a:pt x="2286" y="959"/>
                    <a:pt x="2745" y="938"/>
                  </a:cubicBezTo>
                  <a:lnTo>
                    <a:pt x="2745" y="1535"/>
                  </a:lnTo>
                  <a:cubicBezTo>
                    <a:pt x="2007" y="1538"/>
                    <a:pt x="1343" y="1537"/>
                    <a:pt x="1362" y="1519"/>
                  </a:cubicBezTo>
                  <a:close/>
                  <a:moveTo>
                    <a:pt x="2986" y="1534"/>
                  </a:moveTo>
                  <a:lnTo>
                    <a:pt x="2986" y="939"/>
                  </a:lnTo>
                  <a:cubicBezTo>
                    <a:pt x="3912" y="986"/>
                    <a:pt x="4679" y="1519"/>
                    <a:pt x="4679" y="1519"/>
                  </a:cubicBezTo>
                  <a:cubicBezTo>
                    <a:pt x="4679" y="1519"/>
                    <a:pt x="3826" y="1529"/>
                    <a:pt x="2986" y="1534"/>
                  </a:cubicBezTo>
                  <a:close/>
                </a:path>
              </a:pathLst>
            </a:custGeom>
            <a:solidFill>
              <a:srgbClr val="00A4D4"/>
            </a:solidFill>
            <a:ln>
              <a:noFill/>
            </a:ln>
          </p:spPr>
        </p:sp>
        <p:sp>
          <p:nvSpPr>
            <p:cNvPr id="310" name="iconfont-11253-5321868">
              <a:extLst>
                <a:ext uri="{FF2B5EF4-FFF2-40B4-BE49-F238E27FC236}">
                  <a16:creationId xmlns="" xmlns:a16="http://schemas.microsoft.com/office/drawing/2014/main" id="{CDA28C27-592F-4109-BB30-3BC6A9B804A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43152" y="3409123"/>
              <a:ext cx="176451" cy="154399"/>
            </a:xfrm>
            <a:custGeom>
              <a:avLst/>
              <a:gdLst>
                <a:gd name="T0" fmla="*/ 2100 w 10000"/>
                <a:gd name="T1" fmla="*/ 6028 h 8750"/>
                <a:gd name="T2" fmla="*/ 1050 w 10000"/>
                <a:gd name="T3" fmla="*/ 6028 h 8750"/>
                <a:gd name="T4" fmla="*/ 1050 w 10000"/>
                <a:gd name="T5" fmla="*/ 4715 h 8750"/>
                <a:gd name="T6" fmla="*/ 0 w 10000"/>
                <a:gd name="T7" fmla="*/ 4521 h 8750"/>
                <a:gd name="T8" fmla="*/ 0 w 10000"/>
                <a:gd name="T9" fmla="*/ 8750 h 8750"/>
                <a:gd name="T10" fmla="*/ 1050 w 10000"/>
                <a:gd name="T11" fmla="*/ 8410 h 8750"/>
                <a:gd name="T12" fmla="*/ 1050 w 10000"/>
                <a:gd name="T13" fmla="*/ 6951 h 8750"/>
                <a:gd name="T14" fmla="*/ 2750 w 10000"/>
                <a:gd name="T15" fmla="*/ 6951 h 8750"/>
                <a:gd name="T16" fmla="*/ 3650 w 10000"/>
                <a:gd name="T17" fmla="*/ 5736 h 8750"/>
                <a:gd name="T18" fmla="*/ 2450 w 10000"/>
                <a:gd name="T19" fmla="*/ 5104 h 8750"/>
                <a:gd name="T20" fmla="*/ 2100 w 10000"/>
                <a:gd name="T21" fmla="*/ 6028 h 8750"/>
                <a:gd name="T22" fmla="*/ 7550 w 10000"/>
                <a:gd name="T23" fmla="*/ 6270 h 8750"/>
                <a:gd name="T24" fmla="*/ 10000 w 10000"/>
                <a:gd name="T25" fmla="*/ 4763 h 8750"/>
                <a:gd name="T26" fmla="*/ 2400 w 10000"/>
                <a:gd name="T27" fmla="*/ 0 h 8750"/>
                <a:gd name="T28" fmla="*/ 1500 w 10000"/>
                <a:gd name="T29" fmla="*/ 0 h 8750"/>
                <a:gd name="T30" fmla="*/ 300 w 10000"/>
                <a:gd name="T31" fmla="*/ 1799 h 8750"/>
                <a:gd name="T32" fmla="*/ 300 w 10000"/>
                <a:gd name="T33" fmla="*/ 2431 h 8750"/>
                <a:gd name="T34" fmla="*/ 7000 w 10000"/>
                <a:gd name="T35" fmla="*/ 6320 h 8750"/>
                <a:gd name="T36" fmla="*/ 7550 w 10000"/>
                <a:gd name="T37" fmla="*/ 6270 h 8750"/>
                <a:gd name="T38" fmla="*/ 6650 w 10000"/>
                <a:gd name="T39" fmla="*/ 6610 h 8750"/>
                <a:gd name="T40" fmla="*/ 900 w 10000"/>
                <a:gd name="T41" fmla="*/ 3014 h 8750"/>
                <a:gd name="T42" fmla="*/ 300 w 10000"/>
                <a:gd name="T43" fmla="*/ 3646 h 8750"/>
                <a:gd name="T44" fmla="*/ 7000 w 10000"/>
                <a:gd name="T45" fmla="*/ 7535 h 8750"/>
                <a:gd name="T46" fmla="*/ 7600 w 10000"/>
                <a:gd name="T47" fmla="*/ 7535 h 8750"/>
                <a:gd name="T48" fmla="*/ 7900 w 10000"/>
                <a:gd name="T49" fmla="*/ 7243 h 8750"/>
                <a:gd name="T50" fmla="*/ 8200 w 10000"/>
                <a:gd name="T51" fmla="*/ 6368 h 8750"/>
                <a:gd name="T52" fmla="*/ 7300 w 10000"/>
                <a:gd name="T53" fmla="*/ 7000 h 8750"/>
                <a:gd name="T54" fmla="*/ 6650 w 10000"/>
                <a:gd name="T55" fmla="*/ 6610 h 8750"/>
                <a:gd name="T56" fmla="*/ 6650 w 10000"/>
                <a:gd name="T57" fmla="*/ 6610 h 8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000" h="8750">
                  <a:moveTo>
                    <a:pt x="2100" y="6028"/>
                  </a:moveTo>
                  <a:lnTo>
                    <a:pt x="1050" y="6028"/>
                  </a:lnTo>
                  <a:lnTo>
                    <a:pt x="1050" y="4715"/>
                  </a:lnTo>
                  <a:lnTo>
                    <a:pt x="0" y="4521"/>
                  </a:lnTo>
                  <a:lnTo>
                    <a:pt x="0" y="8750"/>
                  </a:lnTo>
                  <a:lnTo>
                    <a:pt x="1050" y="8410"/>
                  </a:lnTo>
                  <a:lnTo>
                    <a:pt x="1050" y="6951"/>
                  </a:lnTo>
                  <a:lnTo>
                    <a:pt x="2750" y="6951"/>
                  </a:lnTo>
                  <a:lnTo>
                    <a:pt x="3650" y="5736"/>
                  </a:lnTo>
                  <a:lnTo>
                    <a:pt x="2450" y="5104"/>
                  </a:lnTo>
                  <a:lnTo>
                    <a:pt x="2100" y="6028"/>
                  </a:lnTo>
                  <a:close/>
                  <a:moveTo>
                    <a:pt x="7550" y="6270"/>
                  </a:moveTo>
                  <a:lnTo>
                    <a:pt x="10000" y="4763"/>
                  </a:lnTo>
                  <a:lnTo>
                    <a:pt x="2400" y="0"/>
                  </a:lnTo>
                  <a:lnTo>
                    <a:pt x="1500" y="0"/>
                  </a:lnTo>
                  <a:lnTo>
                    <a:pt x="300" y="1799"/>
                  </a:lnTo>
                  <a:lnTo>
                    <a:pt x="300" y="2431"/>
                  </a:lnTo>
                  <a:lnTo>
                    <a:pt x="7000" y="6320"/>
                  </a:lnTo>
                  <a:lnTo>
                    <a:pt x="7550" y="6270"/>
                  </a:lnTo>
                  <a:close/>
                  <a:moveTo>
                    <a:pt x="6650" y="6610"/>
                  </a:moveTo>
                  <a:lnTo>
                    <a:pt x="900" y="3014"/>
                  </a:lnTo>
                  <a:lnTo>
                    <a:pt x="300" y="3646"/>
                  </a:lnTo>
                  <a:lnTo>
                    <a:pt x="7000" y="7535"/>
                  </a:lnTo>
                  <a:lnTo>
                    <a:pt x="7600" y="7535"/>
                  </a:lnTo>
                  <a:lnTo>
                    <a:pt x="7900" y="7243"/>
                  </a:lnTo>
                  <a:lnTo>
                    <a:pt x="8200" y="6368"/>
                  </a:lnTo>
                  <a:lnTo>
                    <a:pt x="7300" y="7000"/>
                  </a:lnTo>
                  <a:cubicBezTo>
                    <a:pt x="6899" y="6708"/>
                    <a:pt x="6650" y="6610"/>
                    <a:pt x="6650" y="6610"/>
                  </a:cubicBezTo>
                  <a:close/>
                  <a:moveTo>
                    <a:pt x="6650" y="6610"/>
                  </a:moveTo>
                  <a:close/>
                </a:path>
              </a:pathLst>
            </a:custGeom>
            <a:solidFill>
              <a:srgbClr val="00A4D4"/>
            </a:solidFill>
            <a:ln>
              <a:noFill/>
            </a:ln>
          </p:spPr>
        </p:sp>
        <p:sp>
          <p:nvSpPr>
            <p:cNvPr id="311" name="cell-phone_191">
              <a:extLst>
                <a:ext uri="{FF2B5EF4-FFF2-40B4-BE49-F238E27FC236}">
                  <a16:creationId xmlns="" xmlns:a16="http://schemas.microsoft.com/office/drawing/2014/main" id="{0C4A5B36-090A-44B7-A3BC-FB857C186B6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42628" y="3393022"/>
              <a:ext cx="100464" cy="176452"/>
            </a:xfrm>
            <a:custGeom>
              <a:avLst/>
              <a:gdLst>
                <a:gd name="T0" fmla="*/ 181 w 208"/>
                <a:gd name="T1" fmla="*/ 0 h 366"/>
                <a:gd name="T2" fmla="*/ 27 w 208"/>
                <a:gd name="T3" fmla="*/ 0 h 366"/>
                <a:gd name="T4" fmla="*/ 0 w 208"/>
                <a:gd name="T5" fmla="*/ 27 h 366"/>
                <a:gd name="T6" fmla="*/ 0 w 208"/>
                <a:gd name="T7" fmla="*/ 339 h 366"/>
                <a:gd name="T8" fmla="*/ 27 w 208"/>
                <a:gd name="T9" fmla="*/ 366 h 366"/>
                <a:gd name="T10" fmla="*/ 181 w 208"/>
                <a:gd name="T11" fmla="*/ 366 h 366"/>
                <a:gd name="T12" fmla="*/ 208 w 208"/>
                <a:gd name="T13" fmla="*/ 339 h 366"/>
                <a:gd name="T14" fmla="*/ 208 w 208"/>
                <a:gd name="T15" fmla="*/ 27 h 366"/>
                <a:gd name="T16" fmla="*/ 181 w 208"/>
                <a:gd name="T17" fmla="*/ 0 h 366"/>
                <a:gd name="T18" fmla="*/ 66 w 208"/>
                <a:gd name="T19" fmla="*/ 16 h 366"/>
                <a:gd name="T20" fmla="*/ 142 w 208"/>
                <a:gd name="T21" fmla="*/ 16 h 366"/>
                <a:gd name="T22" fmla="*/ 145 w 208"/>
                <a:gd name="T23" fmla="*/ 23 h 366"/>
                <a:gd name="T24" fmla="*/ 142 w 208"/>
                <a:gd name="T25" fmla="*/ 29 h 366"/>
                <a:gd name="T26" fmla="*/ 66 w 208"/>
                <a:gd name="T27" fmla="*/ 29 h 366"/>
                <a:gd name="T28" fmla="*/ 62 w 208"/>
                <a:gd name="T29" fmla="*/ 23 h 366"/>
                <a:gd name="T30" fmla="*/ 66 w 208"/>
                <a:gd name="T31" fmla="*/ 16 h 366"/>
                <a:gd name="T32" fmla="*/ 104 w 208"/>
                <a:gd name="T33" fmla="*/ 340 h 366"/>
                <a:gd name="T34" fmla="*/ 87 w 208"/>
                <a:gd name="T35" fmla="*/ 323 h 366"/>
                <a:gd name="T36" fmla="*/ 104 w 208"/>
                <a:gd name="T37" fmla="*/ 306 h 366"/>
                <a:gd name="T38" fmla="*/ 121 w 208"/>
                <a:gd name="T39" fmla="*/ 323 h 366"/>
                <a:gd name="T40" fmla="*/ 104 w 208"/>
                <a:gd name="T41" fmla="*/ 340 h 366"/>
                <a:gd name="T42" fmla="*/ 188 w 208"/>
                <a:gd name="T43" fmla="*/ 281 h 366"/>
                <a:gd name="T44" fmla="*/ 20 w 208"/>
                <a:gd name="T45" fmla="*/ 281 h 366"/>
                <a:gd name="T46" fmla="*/ 20 w 208"/>
                <a:gd name="T47" fmla="*/ 45 h 366"/>
                <a:gd name="T48" fmla="*/ 188 w 208"/>
                <a:gd name="T49" fmla="*/ 45 h 366"/>
                <a:gd name="T50" fmla="*/ 188 w 208"/>
                <a:gd name="T51" fmla="*/ 281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366">
                  <a:moveTo>
                    <a:pt x="181" y="0"/>
                  </a:moveTo>
                  <a:lnTo>
                    <a:pt x="27" y="0"/>
                  </a:lnTo>
                  <a:cubicBezTo>
                    <a:pt x="12" y="0"/>
                    <a:pt x="0" y="12"/>
                    <a:pt x="0" y="27"/>
                  </a:cubicBezTo>
                  <a:lnTo>
                    <a:pt x="0" y="339"/>
                  </a:lnTo>
                  <a:cubicBezTo>
                    <a:pt x="0" y="354"/>
                    <a:pt x="12" y="366"/>
                    <a:pt x="27" y="366"/>
                  </a:cubicBezTo>
                  <a:lnTo>
                    <a:pt x="181" y="366"/>
                  </a:lnTo>
                  <a:cubicBezTo>
                    <a:pt x="196" y="366"/>
                    <a:pt x="208" y="354"/>
                    <a:pt x="208" y="339"/>
                  </a:cubicBezTo>
                  <a:lnTo>
                    <a:pt x="208" y="27"/>
                  </a:lnTo>
                  <a:cubicBezTo>
                    <a:pt x="208" y="12"/>
                    <a:pt x="196" y="0"/>
                    <a:pt x="181" y="0"/>
                  </a:cubicBezTo>
                  <a:close/>
                  <a:moveTo>
                    <a:pt x="66" y="16"/>
                  </a:moveTo>
                  <a:lnTo>
                    <a:pt x="142" y="16"/>
                  </a:lnTo>
                  <a:cubicBezTo>
                    <a:pt x="144" y="16"/>
                    <a:pt x="145" y="19"/>
                    <a:pt x="145" y="23"/>
                  </a:cubicBezTo>
                  <a:cubicBezTo>
                    <a:pt x="145" y="26"/>
                    <a:pt x="144" y="29"/>
                    <a:pt x="142" y="29"/>
                  </a:cubicBezTo>
                  <a:lnTo>
                    <a:pt x="66" y="29"/>
                  </a:lnTo>
                  <a:cubicBezTo>
                    <a:pt x="64" y="29"/>
                    <a:pt x="62" y="26"/>
                    <a:pt x="62" y="23"/>
                  </a:cubicBezTo>
                  <a:cubicBezTo>
                    <a:pt x="62" y="19"/>
                    <a:pt x="64" y="16"/>
                    <a:pt x="66" y="16"/>
                  </a:cubicBezTo>
                  <a:close/>
                  <a:moveTo>
                    <a:pt x="104" y="340"/>
                  </a:moveTo>
                  <a:cubicBezTo>
                    <a:pt x="95" y="340"/>
                    <a:pt x="87" y="332"/>
                    <a:pt x="87" y="323"/>
                  </a:cubicBezTo>
                  <a:cubicBezTo>
                    <a:pt x="87" y="313"/>
                    <a:pt x="95" y="306"/>
                    <a:pt x="104" y="306"/>
                  </a:cubicBezTo>
                  <a:cubicBezTo>
                    <a:pt x="113" y="306"/>
                    <a:pt x="121" y="313"/>
                    <a:pt x="121" y="323"/>
                  </a:cubicBezTo>
                  <a:cubicBezTo>
                    <a:pt x="121" y="332"/>
                    <a:pt x="113" y="340"/>
                    <a:pt x="104" y="340"/>
                  </a:cubicBezTo>
                  <a:close/>
                  <a:moveTo>
                    <a:pt x="188" y="281"/>
                  </a:moveTo>
                  <a:lnTo>
                    <a:pt x="20" y="281"/>
                  </a:lnTo>
                  <a:lnTo>
                    <a:pt x="20" y="45"/>
                  </a:lnTo>
                  <a:lnTo>
                    <a:pt x="188" y="45"/>
                  </a:lnTo>
                  <a:lnTo>
                    <a:pt x="188" y="281"/>
                  </a:lnTo>
                  <a:close/>
                </a:path>
              </a:pathLst>
            </a:custGeom>
            <a:solidFill>
              <a:srgbClr val="00A4D4"/>
            </a:solidFill>
            <a:ln>
              <a:noFill/>
            </a:ln>
          </p:spPr>
          <p:txBody>
            <a:bodyPr/>
            <a:lstStyle/>
            <a:p>
              <a:endParaRPr lang="x-none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12" name="图片 20">
              <a:extLst>
                <a:ext uri="{FF2B5EF4-FFF2-40B4-BE49-F238E27FC236}">
                  <a16:creationId xmlns="" xmlns:a16="http://schemas.microsoft.com/office/drawing/2014/main" id="{C3765571-D343-47D0-A902-3CE9E673B6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259455" y="3396444"/>
              <a:ext cx="179758" cy="179758"/>
            </a:xfrm>
            <a:prstGeom prst="rect">
              <a:avLst/>
            </a:prstGeom>
          </p:spPr>
        </p:pic>
        <p:pic>
          <p:nvPicPr>
            <p:cNvPr id="313" name="图片 16">
              <a:extLst>
                <a:ext uri="{FF2B5EF4-FFF2-40B4-BE49-F238E27FC236}">
                  <a16:creationId xmlns="" xmlns:a16="http://schemas.microsoft.com/office/drawing/2014/main" id="{6682DE2F-00B5-407D-8682-A41729817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23197" y="3392934"/>
              <a:ext cx="177009" cy="177009"/>
            </a:xfrm>
            <a:prstGeom prst="rect">
              <a:avLst/>
            </a:prstGeom>
          </p:spPr>
        </p:pic>
        <p:pic>
          <p:nvPicPr>
            <p:cNvPr id="314" name="图片 11">
              <a:extLst>
                <a:ext uri="{FF2B5EF4-FFF2-40B4-BE49-F238E27FC236}">
                  <a16:creationId xmlns="" xmlns:a16="http://schemas.microsoft.com/office/drawing/2014/main" id="{D8DE6094-6745-4A52-B3F7-B935422D2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888145" y="3403597"/>
              <a:ext cx="177008" cy="177008"/>
            </a:xfrm>
            <a:prstGeom prst="rect">
              <a:avLst/>
            </a:prstGeom>
          </p:spPr>
        </p:pic>
        <p:sp>
          <p:nvSpPr>
            <p:cNvPr id="315" name="Oval 314">
              <a:extLst>
                <a:ext uri="{FF2B5EF4-FFF2-40B4-BE49-F238E27FC236}">
                  <a16:creationId xmlns="" xmlns:a16="http://schemas.microsoft.com/office/drawing/2014/main" id="{36717B79-A1AD-431E-85A5-8188ECBBFD18}"/>
                </a:ext>
              </a:extLst>
            </p:cNvPr>
            <p:cNvSpPr/>
            <p:nvPr/>
          </p:nvSpPr>
          <p:spPr>
            <a:xfrm>
              <a:off x="4333644" y="402772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6" name="Oval 315">
              <a:extLst>
                <a:ext uri="{FF2B5EF4-FFF2-40B4-BE49-F238E27FC236}">
                  <a16:creationId xmlns="" xmlns:a16="http://schemas.microsoft.com/office/drawing/2014/main" id="{C1D152F5-0C14-49F3-813B-E103B406D501}"/>
                </a:ext>
              </a:extLst>
            </p:cNvPr>
            <p:cNvSpPr/>
            <p:nvPr/>
          </p:nvSpPr>
          <p:spPr>
            <a:xfrm>
              <a:off x="6278304" y="402772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7" name="Oval 316">
              <a:extLst>
                <a:ext uri="{FF2B5EF4-FFF2-40B4-BE49-F238E27FC236}">
                  <a16:creationId xmlns="" xmlns:a16="http://schemas.microsoft.com/office/drawing/2014/main" id="{135D458A-CA9D-4BE2-814B-5131F250590D}"/>
                </a:ext>
              </a:extLst>
            </p:cNvPr>
            <p:cNvSpPr/>
            <p:nvPr/>
          </p:nvSpPr>
          <p:spPr>
            <a:xfrm>
              <a:off x="5633376" y="402772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8" name="Oval 317">
              <a:extLst>
                <a:ext uri="{FF2B5EF4-FFF2-40B4-BE49-F238E27FC236}">
                  <a16:creationId xmlns="" xmlns:a16="http://schemas.microsoft.com/office/drawing/2014/main" id="{0921AF75-FF4C-4366-80F7-46A33FCB44CF}"/>
                </a:ext>
              </a:extLst>
            </p:cNvPr>
            <p:cNvSpPr/>
            <p:nvPr/>
          </p:nvSpPr>
          <p:spPr>
            <a:xfrm>
              <a:off x="4981864" y="402772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9" name="矩形 20">
              <a:extLst>
                <a:ext uri="{FF2B5EF4-FFF2-40B4-BE49-F238E27FC236}">
                  <a16:creationId xmlns="" xmlns:a16="http://schemas.microsoft.com/office/drawing/2014/main" id="{9EFF68CF-AAFE-48B4-A1A9-33A57439344C}"/>
                </a:ext>
              </a:extLst>
            </p:cNvPr>
            <p:cNvSpPr/>
            <p:nvPr/>
          </p:nvSpPr>
          <p:spPr>
            <a:xfrm>
              <a:off x="4250065" y="439957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x-none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IoT</a:t>
              </a:r>
              <a:r>
                <a:rPr lang="zh-CN" altLang="en-US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devices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20" name="矩形 20">
              <a:extLst>
                <a:ext uri="{FF2B5EF4-FFF2-40B4-BE49-F238E27FC236}">
                  <a16:creationId xmlns="" xmlns:a16="http://schemas.microsoft.com/office/drawing/2014/main" id="{7D550A44-E3FC-4AF2-AE12-3D1EFC890064}"/>
                </a:ext>
              </a:extLst>
            </p:cNvPr>
            <p:cNvSpPr/>
            <p:nvPr/>
          </p:nvSpPr>
          <p:spPr>
            <a:xfrm>
              <a:off x="4941563" y="4399572"/>
              <a:ext cx="422864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VM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21" name="矩形 20">
              <a:extLst>
                <a:ext uri="{FF2B5EF4-FFF2-40B4-BE49-F238E27FC236}">
                  <a16:creationId xmlns="" xmlns:a16="http://schemas.microsoft.com/office/drawing/2014/main" id="{6E4F68BE-8430-47FE-AF21-C15D3FD31034}"/>
                </a:ext>
              </a:extLst>
            </p:cNvPr>
            <p:cNvSpPr/>
            <p:nvPr/>
          </p:nvSpPr>
          <p:spPr>
            <a:xfrm>
              <a:off x="5507998" y="4399572"/>
              <a:ext cx="573716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Chromebook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22" name="矩形 20">
              <a:extLst>
                <a:ext uri="{FF2B5EF4-FFF2-40B4-BE49-F238E27FC236}">
                  <a16:creationId xmlns="" xmlns:a16="http://schemas.microsoft.com/office/drawing/2014/main" id="{E8EF1AD3-AD9F-49F5-871A-8B63F8043FB0}"/>
                </a:ext>
              </a:extLst>
            </p:cNvPr>
            <p:cNvSpPr/>
            <p:nvPr/>
          </p:nvSpPr>
          <p:spPr>
            <a:xfrm>
              <a:off x="6200383" y="439957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Linux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23" name="Oval 322">
              <a:extLst>
                <a:ext uri="{FF2B5EF4-FFF2-40B4-BE49-F238E27FC236}">
                  <a16:creationId xmlns="" xmlns:a16="http://schemas.microsoft.com/office/drawing/2014/main" id="{F94D45F6-EEC4-48A2-A026-B5667D165EFD}"/>
                </a:ext>
              </a:extLst>
            </p:cNvPr>
            <p:cNvSpPr/>
            <p:nvPr/>
          </p:nvSpPr>
          <p:spPr>
            <a:xfrm>
              <a:off x="6926524" y="402772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Oval 323">
              <a:extLst>
                <a:ext uri="{FF2B5EF4-FFF2-40B4-BE49-F238E27FC236}">
                  <a16:creationId xmlns="" xmlns:a16="http://schemas.microsoft.com/office/drawing/2014/main" id="{84576386-A724-4288-85BD-0BBF4CEAE38B}"/>
                </a:ext>
              </a:extLst>
            </p:cNvPr>
            <p:cNvSpPr/>
            <p:nvPr/>
          </p:nvSpPr>
          <p:spPr>
            <a:xfrm>
              <a:off x="7574745" y="402772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矩形 20">
              <a:extLst>
                <a:ext uri="{FF2B5EF4-FFF2-40B4-BE49-F238E27FC236}">
                  <a16:creationId xmlns="" xmlns:a16="http://schemas.microsoft.com/office/drawing/2014/main" id="{961FC449-427F-45A6-8045-8A6BC9CBC4B9}"/>
                </a:ext>
              </a:extLst>
            </p:cNvPr>
            <p:cNvSpPr/>
            <p:nvPr/>
          </p:nvSpPr>
          <p:spPr>
            <a:xfrm>
              <a:off x="6843033" y="439957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x-none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IoT</a:t>
              </a:r>
              <a:r>
                <a:rPr lang="zh-CN" altLang="en-US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devices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26" name="矩形 20">
              <a:extLst>
                <a:ext uri="{FF2B5EF4-FFF2-40B4-BE49-F238E27FC236}">
                  <a16:creationId xmlns="" xmlns:a16="http://schemas.microsoft.com/office/drawing/2014/main" id="{E9C34F0C-DE0D-4087-A53E-1D5BF2D2A086}"/>
                </a:ext>
              </a:extLst>
            </p:cNvPr>
            <p:cNvSpPr/>
            <p:nvPr/>
          </p:nvSpPr>
          <p:spPr>
            <a:xfrm>
              <a:off x="7491166" y="439957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Switches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333" name="图片 27">
              <a:extLst>
                <a:ext uri="{FF2B5EF4-FFF2-40B4-BE49-F238E27FC236}">
                  <a16:creationId xmlns="" xmlns:a16="http://schemas.microsoft.com/office/drawing/2014/main" id="{ACC3429D-7137-4CD9-945A-585BEC3B1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714263" y="4144321"/>
              <a:ext cx="149386" cy="113219"/>
            </a:xfrm>
            <a:prstGeom prst="rect">
              <a:avLst/>
            </a:prstGeom>
          </p:spPr>
        </p:pic>
        <p:pic>
          <p:nvPicPr>
            <p:cNvPr id="334" name="图片 27">
              <a:extLst>
                <a:ext uri="{FF2B5EF4-FFF2-40B4-BE49-F238E27FC236}">
                  <a16:creationId xmlns="" xmlns:a16="http://schemas.microsoft.com/office/drawing/2014/main" id="{739D59BF-2AA4-47AA-AB10-C963065E01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414390" y="4106837"/>
              <a:ext cx="169565" cy="169564"/>
            </a:xfrm>
            <a:prstGeom prst="rect">
              <a:avLst/>
            </a:prstGeom>
          </p:spPr>
        </p:pic>
        <p:pic>
          <p:nvPicPr>
            <p:cNvPr id="335" name="图片 18">
              <a:extLst>
                <a:ext uri="{FF2B5EF4-FFF2-40B4-BE49-F238E27FC236}">
                  <a16:creationId xmlns="" xmlns:a16="http://schemas.microsoft.com/office/drawing/2014/main" id="{019DC4DE-36AF-4882-A7CF-B695994D0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2690" y="4116757"/>
              <a:ext cx="172877" cy="173327"/>
            </a:xfrm>
            <a:prstGeom prst="rect">
              <a:avLst/>
            </a:prstGeom>
          </p:spPr>
        </p:pic>
        <p:pic>
          <p:nvPicPr>
            <p:cNvPr id="336" name="图片 50">
              <a:extLst>
                <a:ext uri="{FF2B5EF4-FFF2-40B4-BE49-F238E27FC236}">
                  <a16:creationId xmlns="" xmlns:a16="http://schemas.microsoft.com/office/drawing/2014/main" id="{3DFE246F-E8E8-4B7F-BE4D-6E5E3C9172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5813" y="4131761"/>
              <a:ext cx="146228" cy="120423"/>
            </a:xfrm>
            <a:prstGeom prst="rect">
              <a:avLst/>
            </a:prstGeom>
          </p:spPr>
        </p:pic>
        <p:pic>
          <p:nvPicPr>
            <p:cNvPr id="337" name="图片 27">
              <a:extLst>
                <a:ext uri="{FF2B5EF4-FFF2-40B4-BE49-F238E27FC236}">
                  <a16:creationId xmlns="" xmlns:a16="http://schemas.microsoft.com/office/drawing/2014/main" id="{A80BF69D-CC69-41BD-AC6B-430631D7B2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003221" y="4109956"/>
              <a:ext cx="169564" cy="169565"/>
            </a:xfrm>
            <a:prstGeom prst="rect">
              <a:avLst/>
            </a:prstGeom>
          </p:spPr>
        </p:pic>
        <p:pic>
          <p:nvPicPr>
            <p:cNvPr id="338" name="图片 17">
              <a:extLst>
                <a:ext uri="{FF2B5EF4-FFF2-40B4-BE49-F238E27FC236}">
                  <a16:creationId xmlns="" xmlns:a16="http://schemas.microsoft.com/office/drawing/2014/main" id="{ACFB0820-B9A3-44DE-9891-0A7BD7F87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656060" y="4109956"/>
              <a:ext cx="164797" cy="166445"/>
            </a:xfrm>
            <a:prstGeom prst="rect">
              <a:avLst/>
            </a:prstGeom>
          </p:spPr>
        </p:pic>
        <p:sp>
          <p:nvSpPr>
            <p:cNvPr id="354" name="Oval 353">
              <a:extLst>
                <a:ext uri="{FF2B5EF4-FFF2-40B4-BE49-F238E27FC236}">
                  <a16:creationId xmlns="" xmlns:a16="http://schemas.microsoft.com/office/drawing/2014/main" id="{CFD3914E-A239-41CC-8479-40F96877E0D8}"/>
                </a:ext>
              </a:extLst>
            </p:cNvPr>
            <p:cNvSpPr/>
            <p:nvPr/>
          </p:nvSpPr>
          <p:spPr>
            <a:xfrm>
              <a:off x="4639198" y="464007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5" name="Oval 354">
              <a:extLst>
                <a:ext uri="{FF2B5EF4-FFF2-40B4-BE49-F238E27FC236}">
                  <a16:creationId xmlns="" xmlns:a16="http://schemas.microsoft.com/office/drawing/2014/main" id="{674667A3-5C8A-42FB-86F1-98DDF2A8EFE3}"/>
                </a:ext>
              </a:extLst>
            </p:cNvPr>
            <p:cNvSpPr/>
            <p:nvPr/>
          </p:nvSpPr>
          <p:spPr>
            <a:xfrm>
              <a:off x="6241054" y="464007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6" name="Oval 355">
              <a:extLst>
                <a:ext uri="{FF2B5EF4-FFF2-40B4-BE49-F238E27FC236}">
                  <a16:creationId xmlns="" xmlns:a16="http://schemas.microsoft.com/office/drawing/2014/main" id="{2BCC0BA5-B545-4B10-9E25-F0768BCB2476}"/>
                </a:ext>
              </a:extLst>
            </p:cNvPr>
            <p:cNvSpPr/>
            <p:nvPr/>
          </p:nvSpPr>
          <p:spPr>
            <a:xfrm>
              <a:off x="5694450" y="464007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7" name="Oval 356">
              <a:extLst>
                <a:ext uri="{FF2B5EF4-FFF2-40B4-BE49-F238E27FC236}">
                  <a16:creationId xmlns="" xmlns:a16="http://schemas.microsoft.com/office/drawing/2014/main" id="{04A98515-95EE-46D3-B037-F5F83B9C0806}"/>
                </a:ext>
              </a:extLst>
            </p:cNvPr>
            <p:cNvSpPr/>
            <p:nvPr/>
          </p:nvSpPr>
          <p:spPr>
            <a:xfrm>
              <a:off x="5169926" y="464007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矩形 20">
              <a:extLst>
                <a:ext uri="{FF2B5EF4-FFF2-40B4-BE49-F238E27FC236}">
                  <a16:creationId xmlns="" xmlns:a16="http://schemas.microsoft.com/office/drawing/2014/main" id="{4E589BEB-28AE-4519-AD7C-FA68B3B01911}"/>
                </a:ext>
              </a:extLst>
            </p:cNvPr>
            <p:cNvSpPr/>
            <p:nvPr/>
          </p:nvSpPr>
          <p:spPr>
            <a:xfrm>
              <a:off x="4555619" y="501192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Pad</a:t>
              </a:r>
            </a:p>
          </p:txBody>
        </p:sp>
        <p:sp>
          <p:nvSpPr>
            <p:cNvPr id="359" name="矩形 20">
              <a:extLst>
                <a:ext uri="{FF2B5EF4-FFF2-40B4-BE49-F238E27FC236}">
                  <a16:creationId xmlns="" xmlns:a16="http://schemas.microsoft.com/office/drawing/2014/main" id="{7290C920-9A59-47A6-B45D-BE41FA14C067}"/>
                </a:ext>
              </a:extLst>
            </p:cNvPr>
            <p:cNvSpPr/>
            <p:nvPr/>
          </p:nvSpPr>
          <p:spPr>
            <a:xfrm>
              <a:off x="5129625" y="5011922"/>
              <a:ext cx="422864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zh-CN" altLang="en-US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NGFW</a:t>
              </a:r>
            </a:p>
          </p:txBody>
        </p:sp>
        <p:sp>
          <p:nvSpPr>
            <p:cNvPr id="360" name="矩形 20">
              <a:extLst>
                <a:ext uri="{FF2B5EF4-FFF2-40B4-BE49-F238E27FC236}">
                  <a16:creationId xmlns="" xmlns:a16="http://schemas.microsoft.com/office/drawing/2014/main" id="{26A9C788-2D69-4048-B243-8E72540959B5}"/>
                </a:ext>
              </a:extLst>
            </p:cNvPr>
            <p:cNvSpPr/>
            <p:nvPr/>
          </p:nvSpPr>
          <p:spPr>
            <a:xfrm>
              <a:off x="5569072" y="5011922"/>
              <a:ext cx="573716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Laptop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61" name="矩形 20">
              <a:extLst>
                <a:ext uri="{FF2B5EF4-FFF2-40B4-BE49-F238E27FC236}">
                  <a16:creationId xmlns="" xmlns:a16="http://schemas.microsoft.com/office/drawing/2014/main" id="{FAB3386F-683B-4924-9EC2-DBC0E5B529F0}"/>
                </a:ext>
              </a:extLst>
            </p:cNvPr>
            <p:cNvSpPr/>
            <p:nvPr/>
          </p:nvSpPr>
          <p:spPr>
            <a:xfrm>
              <a:off x="6163133" y="501192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x-none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WAF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62" name="Oval 361">
              <a:extLst>
                <a:ext uri="{FF2B5EF4-FFF2-40B4-BE49-F238E27FC236}">
                  <a16:creationId xmlns="" xmlns:a16="http://schemas.microsoft.com/office/drawing/2014/main" id="{97A60A34-B1BF-4B5C-BD5A-F7330993F5CA}"/>
                </a:ext>
              </a:extLst>
            </p:cNvPr>
            <p:cNvSpPr/>
            <p:nvPr/>
          </p:nvSpPr>
          <p:spPr>
            <a:xfrm>
              <a:off x="6780993" y="464007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3" name="Oval 362">
              <a:extLst>
                <a:ext uri="{FF2B5EF4-FFF2-40B4-BE49-F238E27FC236}">
                  <a16:creationId xmlns="" xmlns:a16="http://schemas.microsoft.com/office/drawing/2014/main" id="{B7711EB6-DB47-4CFC-AA13-E024CC8303EE}"/>
                </a:ext>
              </a:extLst>
            </p:cNvPr>
            <p:cNvSpPr/>
            <p:nvPr/>
          </p:nvSpPr>
          <p:spPr>
            <a:xfrm>
              <a:off x="7290341" y="4640076"/>
              <a:ext cx="322958" cy="322958"/>
            </a:xfrm>
            <a:prstGeom prst="ellipse">
              <a:avLst/>
            </a:prstGeom>
            <a:noFill/>
            <a:ln w="6350">
              <a:solidFill>
                <a:srgbClr val="00A4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4" name="矩形 20">
              <a:extLst>
                <a:ext uri="{FF2B5EF4-FFF2-40B4-BE49-F238E27FC236}">
                  <a16:creationId xmlns="" xmlns:a16="http://schemas.microsoft.com/office/drawing/2014/main" id="{F13BCEFF-644E-4B03-8E2C-8D9ED19E5876}"/>
                </a:ext>
              </a:extLst>
            </p:cNvPr>
            <p:cNvSpPr/>
            <p:nvPr/>
          </p:nvSpPr>
          <p:spPr>
            <a:xfrm>
              <a:off x="6697502" y="501192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VM</a:t>
              </a:r>
              <a:endParaRPr lang="zh-CN" altLang="en-US" sz="700" dirty="0">
                <a:latin typeface="Arial" panose="020B0604020202020204" pitchFamily="34" charset="0"/>
                <a:ea typeface="思源黑体 CN Regular" panose="020B0500000000000000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65" name="矩形 20">
              <a:extLst>
                <a:ext uri="{FF2B5EF4-FFF2-40B4-BE49-F238E27FC236}">
                  <a16:creationId xmlns="" xmlns:a16="http://schemas.microsoft.com/office/drawing/2014/main" id="{7063A4C2-1133-4A56-84F5-B35A5783FF30}"/>
                </a:ext>
              </a:extLst>
            </p:cNvPr>
            <p:cNvSpPr/>
            <p:nvPr/>
          </p:nvSpPr>
          <p:spPr>
            <a:xfrm>
              <a:off x="7206762" y="5011922"/>
              <a:ext cx="490117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altLang="zh-CN" sz="700" dirty="0">
                  <a:latin typeface="Arial" panose="020B0604020202020204" pitchFamily="34" charset="0"/>
                  <a:ea typeface="思源黑体 CN Regular" panose="020B0500000000000000" pitchFamily="34" charset="-122"/>
                  <a:cs typeface="Arial" panose="020B0604020202020204" pitchFamily="34" charset="0"/>
                </a:rPr>
                <a:t>Pad</a:t>
              </a:r>
            </a:p>
          </p:txBody>
        </p:sp>
        <p:sp>
          <p:nvSpPr>
            <p:cNvPr id="378" name="newtablet_16879">
              <a:extLst>
                <a:ext uri="{FF2B5EF4-FFF2-40B4-BE49-F238E27FC236}">
                  <a16:creationId xmlns="" xmlns:a16="http://schemas.microsoft.com/office/drawing/2014/main" id="{4D526AB7-AA62-48B6-8903-267CC863D53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91040" y="4717417"/>
              <a:ext cx="115231" cy="171133"/>
            </a:xfrm>
            <a:custGeom>
              <a:avLst/>
              <a:gdLst>
                <a:gd name="T0" fmla="*/ 2642 w 2846"/>
                <a:gd name="T1" fmla="*/ 0 h 4234"/>
                <a:gd name="T2" fmla="*/ 204 w 2846"/>
                <a:gd name="T3" fmla="*/ 0 h 4234"/>
                <a:gd name="T4" fmla="*/ 0 w 2846"/>
                <a:gd name="T5" fmla="*/ 196 h 4234"/>
                <a:gd name="T6" fmla="*/ 0 w 2846"/>
                <a:gd name="T7" fmla="*/ 4038 h 4234"/>
                <a:gd name="T8" fmla="*/ 204 w 2846"/>
                <a:gd name="T9" fmla="*/ 4234 h 4234"/>
                <a:gd name="T10" fmla="*/ 2642 w 2846"/>
                <a:gd name="T11" fmla="*/ 4234 h 4234"/>
                <a:gd name="T12" fmla="*/ 2846 w 2846"/>
                <a:gd name="T13" fmla="*/ 4038 h 4234"/>
                <a:gd name="T14" fmla="*/ 2846 w 2846"/>
                <a:gd name="T15" fmla="*/ 196 h 4234"/>
                <a:gd name="T16" fmla="*/ 2642 w 2846"/>
                <a:gd name="T17" fmla="*/ 0 h 4234"/>
                <a:gd name="T18" fmla="*/ 1082 w 2846"/>
                <a:gd name="T19" fmla="*/ 228 h 4234"/>
                <a:gd name="T20" fmla="*/ 1764 w 2846"/>
                <a:gd name="T21" fmla="*/ 228 h 4234"/>
                <a:gd name="T22" fmla="*/ 1764 w 2846"/>
                <a:gd name="T23" fmla="*/ 276 h 4234"/>
                <a:gd name="T24" fmla="*/ 1082 w 2846"/>
                <a:gd name="T25" fmla="*/ 276 h 4234"/>
                <a:gd name="T26" fmla="*/ 1082 w 2846"/>
                <a:gd name="T27" fmla="*/ 228 h 4234"/>
                <a:gd name="T28" fmla="*/ 1440 w 2846"/>
                <a:gd name="T29" fmla="*/ 4028 h 4234"/>
                <a:gd name="T30" fmla="*/ 1326 w 2846"/>
                <a:gd name="T31" fmla="*/ 3915 h 4234"/>
                <a:gd name="T32" fmla="*/ 1440 w 2846"/>
                <a:gd name="T33" fmla="*/ 3801 h 4234"/>
                <a:gd name="T34" fmla="*/ 1553 w 2846"/>
                <a:gd name="T35" fmla="*/ 3915 h 4234"/>
                <a:gd name="T36" fmla="*/ 1440 w 2846"/>
                <a:gd name="T37" fmla="*/ 4028 h 4234"/>
                <a:gd name="T38" fmla="*/ 2708 w 2846"/>
                <a:gd name="T39" fmla="*/ 3602 h 4234"/>
                <a:gd name="T40" fmla="*/ 138 w 2846"/>
                <a:gd name="T41" fmla="*/ 3602 h 4234"/>
                <a:gd name="T42" fmla="*/ 138 w 2846"/>
                <a:gd name="T43" fmla="*/ 583 h 4234"/>
                <a:gd name="T44" fmla="*/ 2708 w 2846"/>
                <a:gd name="T45" fmla="*/ 583 h 4234"/>
                <a:gd name="T46" fmla="*/ 2708 w 2846"/>
                <a:gd name="T47" fmla="*/ 3602 h 4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46" h="4234">
                  <a:moveTo>
                    <a:pt x="2642" y="0"/>
                  </a:moveTo>
                  <a:lnTo>
                    <a:pt x="204" y="0"/>
                  </a:lnTo>
                  <a:cubicBezTo>
                    <a:pt x="92" y="0"/>
                    <a:pt x="0" y="88"/>
                    <a:pt x="0" y="196"/>
                  </a:cubicBezTo>
                  <a:lnTo>
                    <a:pt x="0" y="4038"/>
                  </a:lnTo>
                  <a:cubicBezTo>
                    <a:pt x="0" y="4146"/>
                    <a:pt x="92" y="4234"/>
                    <a:pt x="204" y="4234"/>
                  </a:cubicBezTo>
                  <a:lnTo>
                    <a:pt x="2642" y="4234"/>
                  </a:lnTo>
                  <a:cubicBezTo>
                    <a:pt x="2754" y="4234"/>
                    <a:pt x="2846" y="4146"/>
                    <a:pt x="2846" y="4038"/>
                  </a:cubicBezTo>
                  <a:lnTo>
                    <a:pt x="2846" y="196"/>
                  </a:lnTo>
                  <a:cubicBezTo>
                    <a:pt x="2846" y="88"/>
                    <a:pt x="2754" y="0"/>
                    <a:pt x="2642" y="0"/>
                  </a:cubicBezTo>
                  <a:close/>
                  <a:moveTo>
                    <a:pt x="1082" y="228"/>
                  </a:moveTo>
                  <a:lnTo>
                    <a:pt x="1764" y="228"/>
                  </a:lnTo>
                  <a:lnTo>
                    <a:pt x="1764" y="276"/>
                  </a:lnTo>
                  <a:lnTo>
                    <a:pt x="1082" y="276"/>
                  </a:lnTo>
                  <a:lnTo>
                    <a:pt x="1082" y="228"/>
                  </a:lnTo>
                  <a:close/>
                  <a:moveTo>
                    <a:pt x="1440" y="4028"/>
                  </a:moveTo>
                  <a:cubicBezTo>
                    <a:pt x="1377" y="4028"/>
                    <a:pt x="1326" y="3977"/>
                    <a:pt x="1326" y="3915"/>
                  </a:cubicBezTo>
                  <a:cubicBezTo>
                    <a:pt x="1326" y="3852"/>
                    <a:pt x="1377" y="3801"/>
                    <a:pt x="1440" y="3801"/>
                  </a:cubicBezTo>
                  <a:cubicBezTo>
                    <a:pt x="1502" y="3801"/>
                    <a:pt x="1553" y="3852"/>
                    <a:pt x="1553" y="3915"/>
                  </a:cubicBezTo>
                  <a:cubicBezTo>
                    <a:pt x="1553" y="3977"/>
                    <a:pt x="1502" y="4028"/>
                    <a:pt x="1440" y="4028"/>
                  </a:cubicBezTo>
                  <a:close/>
                  <a:moveTo>
                    <a:pt x="2708" y="3602"/>
                  </a:moveTo>
                  <a:lnTo>
                    <a:pt x="138" y="3602"/>
                  </a:lnTo>
                  <a:lnTo>
                    <a:pt x="138" y="583"/>
                  </a:lnTo>
                  <a:lnTo>
                    <a:pt x="2708" y="583"/>
                  </a:lnTo>
                  <a:lnTo>
                    <a:pt x="2708" y="3602"/>
                  </a:lnTo>
                  <a:close/>
                </a:path>
              </a:pathLst>
            </a:custGeom>
            <a:solidFill>
              <a:srgbClr val="00A4D4"/>
            </a:solidFill>
            <a:ln>
              <a:noFill/>
            </a:ln>
          </p:spPr>
        </p:sp>
        <p:pic>
          <p:nvPicPr>
            <p:cNvPr id="379" name="图片 51">
              <a:extLst>
                <a:ext uri="{FF2B5EF4-FFF2-40B4-BE49-F238E27FC236}">
                  <a16:creationId xmlns="" xmlns:a16="http://schemas.microsoft.com/office/drawing/2014/main" id="{FE44EC96-0706-45BE-AB49-F3FCB6AC5B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73233" y="4750966"/>
              <a:ext cx="153593" cy="100170"/>
            </a:xfrm>
            <a:prstGeom prst="rect">
              <a:avLst/>
            </a:prstGeom>
          </p:spPr>
        </p:pic>
        <p:sp>
          <p:nvSpPr>
            <p:cNvPr id="380" name="newtablet_16879">
              <a:extLst>
                <a:ext uri="{FF2B5EF4-FFF2-40B4-BE49-F238E27FC236}">
                  <a16:creationId xmlns="" xmlns:a16="http://schemas.microsoft.com/office/drawing/2014/main" id="{B77ED2ED-30B3-4F2C-9065-8B637C707C4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38795" y="4708168"/>
              <a:ext cx="115231" cy="171133"/>
            </a:xfrm>
            <a:custGeom>
              <a:avLst/>
              <a:gdLst>
                <a:gd name="T0" fmla="*/ 2642 w 2846"/>
                <a:gd name="T1" fmla="*/ 0 h 4234"/>
                <a:gd name="T2" fmla="*/ 204 w 2846"/>
                <a:gd name="T3" fmla="*/ 0 h 4234"/>
                <a:gd name="T4" fmla="*/ 0 w 2846"/>
                <a:gd name="T5" fmla="*/ 196 h 4234"/>
                <a:gd name="T6" fmla="*/ 0 w 2846"/>
                <a:gd name="T7" fmla="*/ 4038 h 4234"/>
                <a:gd name="T8" fmla="*/ 204 w 2846"/>
                <a:gd name="T9" fmla="*/ 4234 h 4234"/>
                <a:gd name="T10" fmla="*/ 2642 w 2846"/>
                <a:gd name="T11" fmla="*/ 4234 h 4234"/>
                <a:gd name="T12" fmla="*/ 2846 w 2846"/>
                <a:gd name="T13" fmla="*/ 4038 h 4234"/>
                <a:gd name="T14" fmla="*/ 2846 w 2846"/>
                <a:gd name="T15" fmla="*/ 196 h 4234"/>
                <a:gd name="T16" fmla="*/ 2642 w 2846"/>
                <a:gd name="T17" fmla="*/ 0 h 4234"/>
                <a:gd name="T18" fmla="*/ 1082 w 2846"/>
                <a:gd name="T19" fmla="*/ 228 h 4234"/>
                <a:gd name="T20" fmla="*/ 1764 w 2846"/>
                <a:gd name="T21" fmla="*/ 228 h 4234"/>
                <a:gd name="T22" fmla="*/ 1764 w 2846"/>
                <a:gd name="T23" fmla="*/ 276 h 4234"/>
                <a:gd name="T24" fmla="*/ 1082 w 2846"/>
                <a:gd name="T25" fmla="*/ 276 h 4234"/>
                <a:gd name="T26" fmla="*/ 1082 w 2846"/>
                <a:gd name="T27" fmla="*/ 228 h 4234"/>
                <a:gd name="T28" fmla="*/ 1440 w 2846"/>
                <a:gd name="T29" fmla="*/ 4028 h 4234"/>
                <a:gd name="T30" fmla="*/ 1326 w 2846"/>
                <a:gd name="T31" fmla="*/ 3915 h 4234"/>
                <a:gd name="T32" fmla="*/ 1440 w 2846"/>
                <a:gd name="T33" fmla="*/ 3801 h 4234"/>
                <a:gd name="T34" fmla="*/ 1553 w 2846"/>
                <a:gd name="T35" fmla="*/ 3915 h 4234"/>
                <a:gd name="T36" fmla="*/ 1440 w 2846"/>
                <a:gd name="T37" fmla="*/ 4028 h 4234"/>
                <a:gd name="T38" fmla="*/ 2708 w 2846"/>
                <a:gd name="T39" fmla="*/ 3602 h 4234"/>
                <a:gd name="T40" fmla="*/ 138 w 2846"/>
                <a:gd name="T41" fmla="*/ 3602 h 4234"/>
                <a:gd name="T42" fmla="*/ 138 w 2846"/>
                <a:gd name="T43" fmla="*/ 583 h 4234"/>
                <a:gd name="T44" fmla="*/ 2708 w 2846"/>
                <a:gd name="T45" fmla="*/ 583 h 4234"/>
                <a:gd name="T46" fmla="*/ 2708 w 2846"/>
                <a:gd name="T47" fmla="*/ 3602 h 4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46" h="4234">
                  <a:moveTo>
                    <a:pt x="2642" y="0"/>
                  </a:moveTo>
                  <a:lnTo>
                    <a:pt x="204" y="0"/>
                  </a:lnTo>
                  <a:cubicBezTo>
                    <a:pt x="92" y="0"/>
                    <a:pt x="0" y="88"/>
                    <a:pt x="0" y="196"/>
                  </a:cubicBezTo>
                  <a:lnTo>
                    <a:pt x="0" y="4038"/>
                  </a:lnTo>
                  <a:cubicBezTo>
                    <a:pt x="0" y="4146"/>
                    <a:pt x="92" y="4234"/>
                    <a:pt x="204" y="4234"/>
                  </a:cubicBezTo>
                  <a:lnTo>
                    <a:pt x="2642" y="4234"/>
                  </a:lnTo>
                  <a:cubicBezTo>
                    <a:pt x="2754" y="4234"/>
                    <a:pt x="2846" y="4146"/>
                    <a:pt x="2846" y="4038"/>
                  </a:cubicBezTo>
                  <a:lnTo>
                    <a:pt x="2846" y="196"/>
                  </a:lnTo>
                  <a:cubicBezTo>
                    <a:pt x="2846" y="88"/>
                    <a:pt x="2754" y="0"/>
                    <a:pt x="2642" y="0"/>
                  </a:cubicBezTo>
                  <a:close/>
                  <a:moveTo>
                    <a:pt x="1082" y="228"/>
                  </a:moveTo>
                  <a:lnTo>
                    <a:pt x="1764" y="228"/>
                  </a:lnTo>
                  <a:lnTo>
                    <a:pt x="1764" y="276"/>
                  </a:lnTo>
                  <a:lnTo>
                    <a:pt x="1082" y="276"/>
                  </a:lnTo>
                  <a:lnTo>
                    <a:pt x="1082" y="228"/>
                  </a:lnTo>
                  <a:close/>
                  <a:moveTo>
                    <a:pt x="1440" y="4028"/>
                  </a:moveTo>
                  <a:cubicBezTo>
                    <a:pt x="1377" y="4028"/>
                    <a:pt x="1326" y="3977"/>
                    <a:pt x="1326" y="3915"/>
                  </a:cubicBezTo>
                  <a:cubicBezTo>
                    <a:pt x="1326" y="3852"/>
                    <a:pt x="1377" y="3801"/>
                    <a:pt x="1440" y="3801"/>
                  </a:cubicBezTo>
                  <a:cubicBezTo>
                    <a:pt x="1502" y="3801"/>
                    <a:pt x="1553" y="3852"/>
                    <a:pt x="1553" y="3915"/>
                  </a:cubicBezTo>
                  <a:cubicBezTo>
                    <a:pt x="1553" y="3977"/>
                    <a:pt x="1502" y="4028"/>
                    <a:pt x="1440" y="4028"/>
                  </a:cubicBezTo>
                  <a:close/>
                  <a:moveTo>
                    <a:pt x="2708" y="3602"/>
                  </a:moveTo>
                  <a:lnTo>
                    <a:pt x="138" y="3602"/>
                  </a:lnTo>
                  <a:lnTo>
                    <a:pt x="138" y="583"/>
                  </a:lnTo>
                  <a:lnTo>
                    <a:pt x="2708" y="583"/>
                  </a:lnTo>
                  <a:lnTo>
                    <a:pt x="2708" y="3602"/>
                  </a:lnTo>
                  <a:close/>
                </a:path>
              </a:pathLst>
            </a:custGeom>
            <a:solidFill>
              <a:srgbClr val="00A4D4"/>
            </a:solidFill>
            <a:ln>
              <a:noFill/>
            </a:ln>
          </p:spPr>
        </p:sp>
        <p:pic>
          <p:nvPicPr>
            <p:cNvPr id="381" name="图片 18">
              <a:extLst>
                <a:ext uri="{FF2B5EF4-FFF2-40B4-BE49-F238E27FC236}">
                  <a16:creationId xmlns="" xmlns:a16="http://schemas.microsoft.com/office/drawing/2014/main" id="{F2DFFB05-0DCA-47BD-B47E-D67DB18382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7010" y="4712389"/>
              <a:ext cx="177745" cy="178208"/>
            </a:xfrm>
            <a:prstGeom prst="rect">
              <a:avLst/>
            </a:prstGeom>
          </p:spPr>
        </p:pic>
        <p:pic>
          <p:nvPicPr>
            <p:cNvPr id="382" name="图片 23">
              <a:extLst>
                <a:ext uri="{FF2B5EF4-FFF2-40B4-BE49-F238E27FC236}">
                  <a16:creationId xmlns="" xmlns:a16="http://schemas.microsoft.com/office/drawing/2014/main" id="{5CAEA4DB-7A43-49B3-8327-38BE1A734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09569" y="4719037"/>
              <a:ext cx="171674" cy="171674"/>
            </a:xfrm>
            <a:prstGeom prst="rect">
              <a:avLst/>
            </a:prstGeom>
          </p:spPr>
        </p:pic>
        <p:pic>
          <p:nvPicPr>
            <p:cNvPr id="383" name="图片 7">
              <a:extLst>
                <a:ext uri="{FF2B5EF4-FFF2-40B4-BE49-F238E27FC236}">
                  <a16:creationId xmlns="" xmlns:a16="http://schemas.microsoft.com/office/drawing/2014/main" id="{7E1673D4-430D-433C-99E4-22424DC70A6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38276" y="4723160"/>
              <a:ext cx="171674" cy="171674"/>
            </a:xfrm>
            <a:prstGeom prst="rect">
              <a:avLst/>
            </a:prstGeom>
          </p:spPr>
        </p:pic>
        <p:cxnSp>
          <p:nvCxnSpPr>
            <p:cNvPr id="385" name="Straight Connector 384">
              <a:extLst>
                <a:ext uri="{FF2B5EF4-FFF2-40B4-BE49-F238E27FC236}">
                  <a16:creationId xmlns="" xmlns:a16="http://schemas.microsoft.com/office/drawing/2014/main" id="{D3E128BB-7E0C-4078-BC21-821A35F8BF32}"/>
                </a:ext>
              </a:extLst>
            </p:cNvPr>
            <p:cNvCxnSpPr>
              <a:cxnSpLocks/>
              <a:stCxn id="286" idx="6"/>
              <a:endCxn id="242" idx="2"/>
            </p:cNvCxnSpPr>
            <p:nvPr/>
          </p:nvCxnSpPr>
          <p:spPr>
            <a:xfrm flipV="1">
              <a:off x="4373181" y="2281934"/>
              <a:ext cx="1237689" cy="119716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Straight Connector 387">
              <a:extLst>
                <a:ext uri="{FF2B5EF4-FFF2-40B4-BE49-F238E27FC236}">
                  <a16:creationId xmlns="" xmlns:a16="http://schemas.microsoft.com/office/drawing/2014/main" id="{B705DFF1-D1EE-4480-ACDF-F06A7AE78149}"/>
                </a:ext>
              </a:extLst>
            </p:cNvPr>
            <p:cNvCxnSpPr>
              <a:cxnSpLocks/>
              <a:endCxn id="316" idx="2"/>
            </p:cNvCxnSpPr>
            <p:nvPr/>
          </p:nvCxnSpPr>
          <p:spPr>
            <a:xfrm>
              <a:off x="4378382" y="3486642"/>
              <a:ext cx="1899922" cy="70256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Straight Connector 390">
              <a:extLst>
                <a:ext uri="{FF2B5EF4-FFF2-40B4-BE49-F238E27FC236}">
                  <a16:creationId xmlns="" xmlns:a16="http://schemas.microsoft.com/office/drawing/2014/main" id="{9CA3A5BE-A703-4A65-9FCC-50E7EB2345E4}"/>
                </a:ext>
              </a:extLst>
            </p:cNvPr>
            <p:cNvCxnSpPr>
              <a:cxnSpLocks/>
              <a:stCxn id="288" idx="6"/>
              <a:endCxn id="316" idx="2"/>
            </p:cNvCxnSpPr>
            <p:nvPr/>
          </p:nvCxnSpPr>
          <p:spPr>
            <a:xfrm>
              <a:off x="5627647" y="3479102"/>
              <a:ext cx="650657" cy="7101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="" xmlns:a16="http://schemas.microsoft.com/office/drawing/2014/main" id="{96E19BE6-204C-4D21-A22C-F24DB846120E}"/>
                </a:ext>
              </a:extLst>
            </p:cNvPr>
            <p:cNvCxnSpPr>
              <a:cxnSpLocks/>
              <a:endCxn id="242" idx="2"/>
            </p:cNvCxnSpPr>
            <p:nvPr/>
          </p:nvCxnSpPr>
          <p:spPr>
            <a:xfrm flipV="1">
              <a:off x="5474452" y="2281934"/>
              <a:ext cx="136418" cy="103359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02054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94699E4-FE3C-314D-8376-BC43C230E8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x-none" dirty="0"/>
              <a:t>Introduction of Hillstone iSource 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587375" y="6321605"/>
            <a:ext cx="81754" cy="17729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6406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Times New Roman" panose="02020603050405020304" charset="0"/>
                <a:sym typeface="Arial" panose="020B0604020202020204" pitchFamily="34" charset="0"/>
              </a:rPr>
              <a:t>Hillstone XDR Solution Overview</a:t>
            </a:r>
            <a:endParaRPr lang="en-US" dirty="0"/>
          </a:p>
        </p:txBody>
      </p:sp>
      <p:pic>
        <p:nvPicPr>
          <p:cNvPr id="114" name="图片 38" descr="图片包含 游戏机&#10;&#10;描述已自动生成">
            <a:extLst>
              <a:ext uri="{FF2B5EF4-FFF2-40B4-BE49-F238E27FC236}">
                <a16:creationId xmlns="" xmlns:a16="http://schemas.microsoft.com/office/drawing/2014/main" id="{BD7DDCF4-9B38-49FA-AC20-3D5014062C7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0480" y="1151711"/>
            <a:ext cx="2491645" cy="123685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26416A93-FBD2-43AD-BD3A-25FCF7F7BC05}"/>
              </a:ext>
            </a:extLst>
          </p:cNvPr>
          <p:cNvGrpSpPr/>
          <p:nvPr/>
        </p:nvGrpSpPr>
        <p:grpSpPr>
          <a:xfrm>
            <a:off x="905455" y="1647826"/>
            <a:ext cx="10561698" cy="4458774"/>
            <a:chOff x="1371020" y="1844370"/>
            <a:chExt cx="9630567" cy="4065685"/>
          </a:xfrm>
        </p:grpSpPr>
        <p:pic>
          <p:nvPicPr>
            <p:cNvPr id="14" name="图片 46" descr="图片包含 图标&#10;&#10;描述已自动生成">
              <a:extLst>
                <a:ext uri="{FF2B5EF4-FFF2-40B4-BE49-F238E27FC236}">
                  <a16:creationId xmlns="" xmlns:a16="http://schemas.microsoft.com/office/drawing/2014/main" id="{8C05F504-BFAD-4ECD-A24D-65D708F7D5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91574" y="2529649"/>
              <a:ext cx="5885799" cy="3380406"/>
            </a:xfrm>
            <a:prstGeom prst="rect">
              <a:avLst/>
            </a:prstGeom>
          </p:spPr>
        </p:pic>
        <p:grpSp>
          <p:nvGrpSpPr>
            <p:cNvPr id="3" name="Group 2">
              <a:extLst>
                <a:ext uri="{FF2B5EF4-FFF2-40B4-BE49-F238E27FC236}">
                  <a16:creationId xmlns="" xmlns:a16="http://schemas.microsoft.com/office/drawing/2014/main" id="{FB822FD8-BC7A-4221-8AA2-2A5996A34A23}"/>
                </a:ext>
              </a:extLst>
            </p:cNvPr>
            <p:cNvGrpSpPr/>
            <p:nvPr/>
          </p:nvGrpSpPr>
          <p:grpSpPr>
            <a:xfrm>
              <a:off x="1371020" y="1844370"/>
              <a:ext cx="9630567" cy="3785156"/>
              <a:chOff x="1371020" y="1844370"/>
              <a:chExt cx="9630567" cy="3785156"/>
            </a:xfrm>
          </p:grpSpPr>
          <p:pic>
            <p:nvPicPr>
              <p:cNvPr id="84" name="图片 116" descr="图片包含 图标&#10;&#10;描述已自动生成">
                <a:extLst>
                  <a:ext uri="{FF2B5EF4-FFF2-40B4-BE49-F238E27FC236}">
                    <a16:creationId xmlns="" xmlns:a16="http://schemas.microsoft.com/office/drawing/2014/main" id="{9703DBF6-7489-4238-89DF-FA45B23817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728230" y="2392993"/>
                <a:ext cx="3273357" cy="1879995"/>
              </a:xfrm>
              <a:prstGeom prst="rect">
                <a:avLst/>
              </a:prstGeom>
            </p:spPr>
          </p:pic>
          <p:pic>
            <p:nvPicPr>
              <p:cNvPr id="135" name="图片 24" descr="图片包含 图标&#10;&#10;描述已自动生成">
                <a:extLst>
                  <a:ext uri="{FF2B5EF4-FFF2-40B4-BE49-F238E27FC236}">
                    <a16:creationId xmlns="" xmlns:a16="http://schemas.microsoft.com/office/drawing/2014/main" id="{FF77637A-7AD9-457F-B74F-F296C5EF1C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99722" y="1844370"/>
                <a:ext cx="3097627" cy="1779067"/>
              </a:xfrm>
              <a:prstGeom prst="rect">
                <a:avLst/>
              </a:prstGeom>
            </p:spPr>
          </p:pic>
          <p:pic>
            <p:nvPicPr>
              <p:cNvPr id="129" name="图片 35" descr="图片包含 图标&#10;&#10;描述已自动生成">
                <a:extLst>
                  <a:ext uri="{FF2B5EF4-FFF2-40B4-BE49-F238E27FC236}">
                    <a16:creationId xmlns="" xmlns:a16="http://schemas.microsoft.com/office/drawing/2014/main" id="{9E0AE380-3129-45D4-9948-7FECB0745B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12078" y="4223442"/>
                <a:ext cx="2164438" cy="1243107"/>
              </a:xfrm>
              <a:prstGeom prst="rect">
                <a:avLst/>
              </a:prstGeom>
            </p:spPr>
          </p:pic>
          <p:pic>
            <p:nvPicPr>
              <p:cNvPr id="112" name="图片 94" descr="图片包含 图标&#10;&#10;描述已自动生成">
                <a:extLst>
                  <a:ext uri="{FF2B5EF4-FFF2-40B4-BE49-F238E27FC236}">
                    <a16:creationId xmlns="" xmlns:a16="http://schemas.microsoft.com/office/drawing/2014/main" id="{17774677-A061-4F33-8835-5DB9D5A261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10827" y="3361858"/>
                <a:ext cx="2515224" cy="1444576"/>
              </a:xfrm>
              <a:prstGeom prst="rect">
                <a:avLst/>
              </a:prstGeom>
            </p:spPr>
          </p:pic>
          <p:pic>
            <p:nvPicPr>
              <p:cNvPr id="105" name="图片 84" descr="图片包含 图标&#10;&#10;描述已自动生成">
                <a:extLst>
                  <a:ext uri="{FF2B5EF4-FFF2-40B4-BE49-F238E27FC236}">
                    <a16:creationId xmlns="" xmlns:a16="http://schemas.microsoft.com/office/drawing/2014/main" id="{1831853D-537E-4EBB-8435-A2B8FDE01E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29580" y="3507693"/>
                <a:ext cx="2513461" cy="1443564"/>
              </a:xfrm>
              <a:prstGeom prst="rect">
                <a:avLst/>
              </a:prstGeom>
            </p:spPr>
          </p:pic>
          <p:pic>
            <p:nvPicPr>
              <p:cNvPr id="95" name="图片 72" descr="图片包含 图标&#10;&#10;描述已自动生成">
                <a:extLst>
                  <a:ext uri="{FF2B5EF4-FFF2-40B4-BE49-F238E27FC236}">
                    <a16:creationId xmlns="" xmlns:a16="http://schemas.microsoft.com/office/drawing/2014/main" id="{0FA6844C-C5CA-44E9-A897-D5295E33DD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41849" y="4184951"/>
                <a:ext cx="2515224" cy="1444575"/>
              </a:xfrm>
              <a:prstGeom prst="rect">
                <a:avLst/>
              </a:prstGeom>
            </p:spPr>
          </p:pic>
          <p:pic>
            <p:nvPicPr>
              <p:cNvPr id="93" name="图片 61" descr="图片包含 图标&#10;&#10;描述已自动生成">
                <a:extLst>
                  <a:ext uri="{FF2B5EF4-FFF2-40B4-BE49-F238E27FC236}">
                    <a16:creationId xmlns="" xmlns:a16="http://schemas.microsoft.com/office/drawing/2014/main" id="{F5D74253-87C4-41B6-BE95-E11CC2ECE4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96796" y="2702942"/>
                <a:ext cx="2515223" cy="1444576"/>
              </a:xfrm>
              <a:prstGeom prst="rect">
                <a:avLst/>
              </a:prstGeom>
            </p:spPr>
          </p:pic>
          <p:pic>
            <p:nvPicPr>
              <p:cNvPr id="72" name="图片 126" descr="图片包含 图标&#10;&#10;描述已自动生成">
                <a:extLst>
                  <a:ext uri="{FF2B5EF4-FFF2-40B4-BE49-F238E27FC236}">
                    <a16:creationId xmlns="" xmlns:a16="http://schemas.microsoft.com/office/drawing/2014/main" id="{331590E6-361A-491D-9BEC-B3D4A45687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71020" y="3259133"/>
                <a:ext cx="2164438" cy="1243107"/>
              </a:xfrm>
              <a:prstGeom prst="rect">
                <a:avLst/>
              </a:prstGeom>
            </p:spPr>
          </p:pic>
        </p:grpSp>
      </p:grpSp>
      <p:grpSp>
        <p:nvGrpSpPr>
          <p:cNvPr id="50" name="组合 148">
            <a:extLst>
              <a:ext uri="{FF2B5EF4-FFF2-40B4-BE49-F238E27FC236}">
                <a16:creationId xmlns="" xmlns:a16="http://schemas.microsoft.com/office/drawing/2014/main" id="{B20D562C-C8E9-4861-9F92-7199CD62FF37}"/>
              </a:ext>
            </a:extLst>
          </p:cNvPr>
          <p:cNvGrpSpPr/>
          <p:nvPr/>
        </p:nvGrpSpPr>
        <p:grpSpPr>
          <a:xfrm>
            <a:off x="1505403" y="6042078"/>
            <a:ext cx="2469245" cy="276997"/>
            <a:chOff x="8443734" y="1654376"/>
            <a:chExt cx="2606572" cy="292402"/>
          </a:xfrm>
        </p:grpSpPr>
        <p:cxnSp>
          <p:nvCxnSpPr>
            <p:cNvPr id="70" name="直接箭头连接符 149">
              <a:extLst>
                <a:ext uri="{FF2B5EF4-FFF2-40B4-BE49-F238E27FC236}">
                  <a16:creationId xmlns="" xmlns:a16="http://schemas.microsoft.com/office/drawing/2014/main" id="{BDC485BE-2B37-4630-94E3-255AC3424120}"/>
                </a:ext>
              </a:extLst>
            </p:cNvPr>
            <p:cNvCxnSpPr/>
            <p:nvPr/>
          </p:nvCxnSpPr>
          <p:spPr>
            <a:xfrm>
              <a:off x="8443734" y="1797922"/>
              <a:ext cx="914400" cy="0"/>
            </a:xfrm>
            <a:prstGeom prst="straightConnector1">
              <a:avLst/>
            </a:prstGeom>
            <a:noFill/>
            <a:ln w="12700" cap="flat">
              <a:solidFill>
                <a:srgbClr val="0070C0"/>
              </a:solidFill>
              <a:prstDash val="dash"/>
              <a:miter lim="800000"/>
              <a:headEnd type="triangle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71" name="文本框 150">
              <a:extLst>
                <a:ext uri="{FF2B5EF4-FFF2-40B4-BE49-F238E27FC236}">
                  <a16:creationId xmlns="" xmlns:a16="http://schemas.microsoft.com/office/drawing/2014/main" id="{DD4E0D97-24BA-48C7-B1FF-9542C0CE02A2}"/>
                </a:ext>
              </a:extLst>
            </p:cNvPr>
            <p:cNvSpPr txBox="1"/>
            <p:nvPr/>
          </p:nvSpPr>
          <p:spPr>
            <a:xfrm>
              <a:off x="9476488" y="1654376"/>
              <a:ext cx="1573818" cy="29240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200" b="0" i="0" u="none" strike="noStrike" cap="none" spc="0" normalizeH="0" baseline="0" dirty="0">
                  <a:ln>
                    <a:noFill/>
                  </a:ln>
                  <a:solidFill>
                    <a:srgbClr val="0070C0"/>
                  </a:solidFill>
                  <a:effectLst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ntelligence Sharing</a:t>
              </a:r>
              <a:endParaRPr kumimoji="0" lang="zh-CN" altLang="en-US" sz="1200" b="0" i="0" u="none" strike="noStrike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1" name="组合 151">
            <a:extLst>
              <a:ext uri="{FF2B5EF4-FFF2-40B4-BE49-F238E27FC236}">
                <a16:creationId xmlns="" xmlns:a16="http://schemas.microsoft.com/office/drawing/2014/main" id="{56241310-387A-4104-99BC-423AA4C3F6D8}"/>
              </a:ext>
            </a:extLst>
          </p:cNvPr>
          <p:cNvGrpSpPr/>
          <p:nvPr/>
        </p:nvGrpSpPr>
        <p:grpSpPr>
          <a:xfrm>
            <a:off x="4842688" y="6049373"/>
            <a:ext cx="2523152" cy="276997"/>
            <a:chOff x="8571319" y="1986940"/>
            <a:chExt cx="2663477" cy="292403"/>
          </a:xfrm>
        </p:grpSpPr>
        <p:cxnSp>
          <p:nvCxnSpPr>
            <p:cNvPr id="68" name="直接箭头连接符 152">
              <a:extLst>
                <a:ext uri="{FF2B5EF4-FFF2-40B4-BE49-F238E27FC236}">
                  <a16:creationId xmlns="" xmlns:a16="http://schemas.microsoft.com/office/drawing/2014/main" id="{0C27ECE5-A851-42BA-9BB4-364EDC6E4B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71319" y="2135626"/>
              <a:ext cx="933601" cy="8982"/>
            </a:xfrm>
            <a:prstGeom prst="straightConnector1">
              <a:avLst/>
            </a:prstGeom>
            <a:noFill/>
            <a:ln w="12700" cap="flat">
              <a:solidFill>
                <a:srgbClr val="00B050"/>
              </a:solidFill>
              <a:prstDash val="dash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9" name="文本框 153">
              <a:extLst>
                <a:ext uri="{FF2B5EF4-FFF2-40B4-BE49-F238E27FC236}">
                  <a16:creationId xmlns="" xmlns:a16="http://schemas.microsoft.com/office/drawing/2014/main" id="{4F665E8E-FD58-4479-B58D-1E0AE4ACF902}"/>
                </a:ext>
              </a:extLst>
            </p:cNvPr>
            <p:cNvSpPr txBox="1"/>
            <p:nvPr/>
          </p:nvSpPr>
          <p:spPr>
            <a:xfrm>
              <a:off x="9660978" y="1986940"/>
              <a:ext cx="1573818" cy="2924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1200" dirty="0">
                  <a:solidFill>
                    <a:srgbClr val="00B050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Logs/Metadata</a:t>
              </a:r>
              <a:endParaRPr kumimoji="0" lang="zh-CN" altLang="en-US" sz="1200" b="0" i="0" u="none" strike="noStrike" cap="none" spc="0" normalizeH="0" baseline="0" dirty="0">
                <a:ln>
                  <a:noFill/>
                </a:ln>
                <a:solidFill>
                  <a:srgbClr val="00B050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2" name="组合 154">
            <a:extLst>
              <a:ext uri="{FF2B5EF4-FFF2-40B4-BE49-F238E27FC236}">
                <a16:creationId xmlns="" xmlns:a16="http://schemas.microsoft.com/office/drawing/2014/main" id="{6A4D8EDB-E6C0-43EA-BF44-4791A5EA5605}"/>
              </a:ext>
            </a:extLst>
          </p:cNvPr>
          <p:cNvGrpSpPr/>
          <p:nvPr/>
        </p:nvGrpSpPr>
        <p:grpSpPr>
          <a:xfrm>
            <a:off x="8233879" y="6049375"/>
            <a:ext cx="2229109" cy="262403"/>
            <a:chOff x="8856025" y="2226438"/>
            <a:chExt cx="2353082" cy="276997"/>
          </a:xfrm>
        </p:grpSpPr>
        <p:cxnSp>
          <p:nvCxnSpPr>
            <p:cNvPr id="66" name="直接箭头连接符 155">
              <a:extLst>
                <a:ext uri="{FF2B5EF4-FFF2-40B4-BE49-F238E27FC236}">
                  <a16:creationId xmlns="" xmlns:a16="http://schemas.microsoft.com/office/drawing/2014/main" id="{D302C4F6-F473-4CEA-BEAA-941DEE4B62D9}"/>
                </a:ext>
              </a:extLst>
            </p:cNvPr>
            <p:cNvCxnSpPr/>
            <p:nvPr/>
          </p:nvCxnSpPr>
          <p:spPr>
            <a:xfrm>
              <a:off x="8856025" y="2362898"/>
              <a:ext cx="962891" cy="0"/>
            </a:xfrm>
            <a:prstGeom prst="straightConnector1">
              <a:avLst/>
            </a:prstGeom>
            <a:noFill/>
            <a:ln w="12700" cap="flat">
              <a:solidFill>
                <a:srgbClr val="C00000"/>
              </a:solidFill>
              <a:prstDash val="dash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7" name="文本框 156">
              <a:extLst>
                <a:ext uri="{FF2B5EF4-FFF2-40B4-BE49-F238E27FC236}">
                  <a16:creationId xmlns="" xmlns:a16="http://schemas.microsoft.com/office/drawing/2014/main" id="{7CD78C03-97A6-4A2A-B39F-220C7A96401A}"/>
                </a:ext>
              </a:extLst>
            </p:cNvPr>
            <p:cNvSpPr txBox="1"/>
            <p:nvPr/>
          </p:nvSpPr>
          <p:spPr>
            <a:xfrm>
              <a:off x="10079962" y="2226438"/>
              <a:ext cx="1129145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200" b="0" i="0" u="none" strike="noStrike" cap="none" spc="0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sponses</a:t>
              </a:r>
              <a:endParaRPr kumimoji="0" lang="zh-CN" altLang="en-US" sz="1200" b="0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55" name="文本框 162">
            <a:extLst>
              <a:ext uri="{FF2B5EF4-FFF2-40B4-BE49-F238E27FC236}">
                <a16:creationId xmlns="" xmlns:a16="http://schemas.microsoft.com/office/drawing/2014/main" id="{4237252A-2C98-45B5-A974-7F5A13E33457}"/>
              </a:ext>
            </a:extLst>
          </p:cNvPr>
          <p:cNvSpPr txBox="1"/>
          <p:nvPr/>
        </p:nvSpPr>
        <p:spPr>
          <a:xfrm>
            <a:off x="1977481" y="778510"/>
            <a:ext cx="3336137" cy="355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199" name="图片 114">
            <a:extLst>
              <a:ext uri="{FF2B5EF4-FFF2-40B4-BE49-F238E27FC236}">
                <a16:creationId xmlns="" xmlns:a16="http://schemas.microsoft.com/office/drawing/2014/main" id="{CF7A8D20-601E-468F-83E4-E86BDC16DC9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6887" y="2768677"/>
            <a:ext cx="249220" cy="150364"/>
          </a:xfrm>
          <a:prstGeom prst="rect">
            <a:avLst/>
          </a:prstGeom>
        </p:spPr>
      </p:pic>
      <p:sp>
        <p:nvSpPr>
          <p:cNvPr id="264" name="文本框 36">
            <a:extLst>
              <a:ext uri="{FF2B5EF4-FFF2-40B4-BE49-F238E27FC236}">
                <a16:creationId xmlns="" xmlns:a16="http://schemas.microsoft.com/office/drawing/2014/main" id="{D1FDCD06-48CA-488C-8676-58775B87D7B7}"/>
              </a:ext>
            </a:extLst>
          </p:cNvPr>
          <p:cNvSpPr txBox="1"/>
          <p:nvPr/>
        </p:nvSpPr>
        <p:spPr>
          <a:xfrm rot="1754619">
            <a:off x="3394746" y="4616306"/>
            <a:ext cx="1255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Virtual Environment</a:t>
            </a:r>
            <a:endParaRPr lang="zh-CN" altLang="en-US" sz="1000" b="1" dirty="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258" name="图片 30">
            <a:extLst>
              <a:ext uri="{FF2B5EF4-FFF2-40B4-BE49-F238E27FC236}">
                <a16:creationId xmlns="" xmlns:a16="http://schemas.microsoft.com/office/drawing/2014/main" id="{AE3DF2A5-DA96-4833-B06F-5148F0184E7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289" y="5012767"/>
            <a:ext cx="278614" cy="149467"/>
          </a:xfrm>
          <a:prstGeom prst="rect">
            <a:avLst/>
          </a:prstGeom>
        </p:spPr>
      </p:pic>
      <p:sp>
        <p:nvSpPr>
          <p:cNvPr id="259" name="文本框 31">
            <a:extLst>
              <a:ext uri="{FF2B5EF4-FFF2-40B4-BE49-F238E27FC236}">
                <a16:creationId xmlns="" xmlns:a16="http://schemas.microsoft.com/office/drawing/2014/main" id="{F39ECDE2-0D60-4F56-8A3F-31F89A4992EA}"/>
              </a:ext>
            </a:extLst>
          </p:cNvPr>
          <p:cNvSpPr txBox="1"/>
          <p:nvPr/>
        </p:nvSpPr>
        <p:spPr>
          <a:xfrm>
            <a:off x="3491031" y="5293456"/>
            <a:ext cx="6668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loudHIve</a:t>
            </a:r>
            <a:endParaRPr lang="zh-CN" altLang="en-US" sz="800" b="1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="" xmlns:a16="http://schemas.microsoft.com/office/drawing/2014/main" id="{7DF111B1-CB59-4366-B558-26AA8E9EEB13}"/>
              </a:ext>
            </a:extLst>
          </p:cNvPr>
          <p:cNvSpPr/>
          <p:nvPr/>
        </p:nvSpPr>
        <p:spPr>
          <a:xfrm>
            <a:off x="3224204" y="4613831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5" name="Oval 264">
            <a:extLst>
              <a:ext uri="{FF2B5EF4-FFF2-40B4-BE49-F238E27FC236}">
                <a16:creationId xmlns="" xmlns:a16="http://schemas.microsoft.com/office/drawing/2014/main" id="{BB415173-AA95-4EFB-B0F6-5C085B6ACC15}"/>
              </a:ext>
            </a:extLst>
          </p:cNvPr>
          <p:cNvSpPr/>
          <p:nvPr/>
        </p:nvSpPr>
        <p:spPr>
          <a:xfrm>
            <a:off x="3643050" y="4912285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6" name="组合 28">
            <a:extLst>
              <a:ext uri="{FF2B5EF4-FFF2-40B4-BE49-F238E27FC236}">
                <a16:creationId xmlns="" xmlns:a16="http://schemas.microsoft.com/office/drawing/2014/main" id="{94EBE82D-50BD-45C8-AC62-2D81B3D27667}"/>
              </a:ext>
            </a:extLst>
          </p:cNvPr>
          <p:cNvGrpSpPr/>
          <p:nvPr/>
        </p:nvGrpSpPr>
        <p:grpSpPr>
          <a:xfrm>
            <a:off x="3279162" y="4703620"/>
            <a:ext cx="258166" cy="192656"/>
            <a:chOff x="1883263" y="4743750"/>
            <a:chExt cx="738799" cy="675553"/>
          </a:xfrm>
        </p:grpSpPr>
        <p:pic>
          <p:nvPicPr>
            <p:cNvPr id="267" name="图片 32">
              <a:extLst>
                <a:ext uri="{FF2B5EF4-FFF2-40B4-BE49-F238E27FC236}">
                  <a16:creationId xmlns="" xmlns:a16="http://schemas.microsoft.com/office/drawing/2014/main" id="{269968D6-7E49-4BC9-8682-609976DB5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64281" y="4743750"/>
              <a:ext cx="376763" cy="377744"/>
            </a:xfrm>
            <a:prstGeom prst="rect">
              <a:avLst/>
            </a:prstGeom>
          </p:spPr>
        </p:pic>
        <p:pic>
          <p:nvPicPr>
            <p:cNvPr id="268" name="图片 33">
              <a:extLst>
                <a:ext uri="{FF2B5EF4-FFF2-40B4-BE49-F238E27FC236}">
                  <a16:creationId xmlns="" xmlns:a16="http://schemas.microsoft.com/office/drawing/2014/main" id="{65C15308-1967-483A-B4E3-8CDD7CE76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3263" y="5041559"/>
              <a:ext cx="376763" cy="377744"/>
            </a:xfrm>
            <a:prstGeom prst="rect">
              <a:avLst/>
            </a:prstGeom>
          </p:spPr>
        </p:pic>
        <p:pic>
          <p:nvPicPr>
            <p:cNvPr id="269" name="图片 34">
              <a:extLst>
                <a:ext uri="{FF2B5EF4-FFF2-40B4-BE49-F238E27FC236}">
                  <a16:creationId xmlns="" xmlns:a16="http://schemas.microsoft.com/office/drawing/2014/main" id="{5715864D-0181-418F-8040-488B8770A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5299" y="5041559"/>
              <a:ext cx="376763" cy="377744"/>
            </a:xfrm>
            <a:prstGeom prst="rect">
              <a:avLst/>
            </a:prstGeom>
          </p:spPr>
        </p:pic>
      </p:grpSp>
      <p:pic>
        <p:nvPicPr>
          <p:cNvPr id="272" name="图片 127">
            <a:extLst>
              <a:ext uri="{FF2B5EF4-FFF2-40B4-BE49-F238E27FC236}">
                <a16:creationId xmlns="" xmlns:a16="http://schemas.microsoft.com/office/drawing/2014/main" id="{B459DC54-A6CD-4F79-A70B-63F0AC8D5D4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969" y="3517289"/>
            <a:ext cx="236682" cy="132311"/>
          </a:xfrm>
          <a:prstGeom prst="rect">
            <a:avLst/>
          </a:prstGeom>
        </p:spPr>
      </p:pic>
      <p:pic>
        <p:nvPicPr>
          <p:cNvPr id="274" name="图片 129">
            <a:extLst>
              <a:ext uri="{FF2B5EF4-FFF2-40B4-BE49-F238E27FC236}">
                <a16:creationId xmlns="" xmlns:a16="http://schemas.microsoft.com/office/drawing/2014/main" id="{BB6955F3-52F8-4DBB-854A-1E6D3EAB136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330791" y="3700511"/>
            <a:ext cx="206472" cy="210355"/>
          </a:xfrm>
          <a:prstGeom prst="rect">
            <a:avLst/>
          </a:prstGeom>
        </p:spPr>
      </p:pic>
      <p:sp>
        <p:nvSpPr>
          <p:cNvPr id="277" name="文本框 31">
            <a:extLst>
              <a:ext uri="{FF2B5EF4-FFF2-40B4-BE49-F238E27FC236}">
                <a16:creationId xmlns="" xmlns:a16="http://schemas.microsoft.com/office/drawing/2014/main" id="{C56DAEBB-05A4-4ACD-8ADE-8D8C5D50553A}"/>
              </a:ext>
            </a:extLst>
          </p:cNvPr>
          <p:cNvSpPr txBox="1"/>
          <p:nvPr/>
        </p:nvSpPr>
        <p:spPr>
          <a:xfrm>
            <a:off x="2094868" y="4001010"/>
            <a:ext cx="66687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Security devices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78" name="Oval 277">
            <a:extLst>
              <a:ext uri="{FF2B5EF4-FFF2-40B4-BE49-F238E27FC236}">
                <a16:creationId xmlns="" xmlns:a16="http://schemas.microsoft.com/office/drawing/2014/main" id="{B279B9E9-474A-48DD-82CE-BF5F1A2D920D}"/>
              </a:ext>
            </a:extLst>
          </p:cNvPr>
          <p:cNvSpPr/>
          <p:nvPr/>
        </p:nvSpPr>
        <p:spPr>
          <a:xfrm>
            <a:off x="1588488" y="3400595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9" name="Oval 278">
            <a:extLst>
              <a:ext uri="{FF2B5EF4-FFF2-40B4-BE49-F238E27FC236}">
                <a16:creationId xmlns="" xmlns:a16="http://schemas.microsoft.com/office/drawing/2014/main" id="{09A0109C-4088-4B84-B5E9-7599BB9A49CD}"/>
              </a:ext>
            </a:extLst>
          </p:cNvPr>
          <p:cNvSpPr/>
          <p:nvPr/>
        </p:nvSpPr>
        <p:spPr>
          <a:xfrm>
            <a:off x="2246887" y="3619839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4" name="文本框 31">
            <a:extLst>
              <a:ext uri="{FF2B5EF4-FFF2-40B4-BE49-F238E27FC236}">
                <a16:creationId xmlns="" xmlns:a16="http://schemas.microsoft.com/office/drawing/2014/main" id="{767C7A3E-5E45-4342-B807-F09ADF455217}"/>
              </a:ext>
            </a:extLst>
          </p:cNvPr>
          <p:cNvSpPr txBox="1"/>
          <p:nvPr/>
        </p:nvSpPr>
        <p:spPr>
          <a:xfrm>
            <a:off x="1436469" y="3790268"/>
            <a:ext cx="66687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Management Platform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C4E9FB48-BA5E-4D01-99ED-160849FCC02F}"/>
              </a:ext>
            </a:extLst>
          </p:cNvPr>
          <p:cNvGrpSpPr/>
          <p:nvPr/>
        </p:nvGrpSpPr>
        <p:grpSpPr>
          <a:xfrm>
            <a:off x="2677481" y="2204351"/>
            <a:ext cx="5888604" cy="2798780"/>
            <a:chOff x="14160784" y="-6455903"/>
            <a:chExt cx="6117063" cy="2994701"/>
          </a:xfrm>
        </p:grpSpPr>
        <p:sp>
          <p:nvSpPr>
            <p:cNvPr id="307" name="任意多边形: 形状 118">
              <a:extLst>
                <a:ext uri="{FF2B5EF4-FFF2-40B4-BE49-F238E27FC236}">
                  <a16:creationId xmlns="" xmlns:a16="http://schemas.microsoft.com/office/drawing/2014/main" id="{EAF2BE53-F6D0-4963-BA5B-F46DB892758C}"/>
                </a:ext>
              </a:extLst>
            </p:cNvPr>
            <p:cNvSpPr/>
            <p:nvPr/>
          </p:nvSpPr>
          <p:spPr>
            <a:xfrm>
              <a:off x="16575117" y="-5836394"/>
              <a:ext cx="3702730" cy="445868"/>
            </a:xfrm>
            <a:custGeom>
              <a:avLst/>
              <a:gdLst>
                <a:gd name="connsiteX0" fmla="*/ 4316422 w 4316422"/>
                <a:gd name="connsiteY0" fmla="*/ 625244 h 625244"/>
                <a:gd name="connsiteX1" fmla="*/ 2504661 w 4316422"/>
                <a:gd name="connsiteY1" fmla="*/ 51615 h 625244"/>
                <a:gd name="connsiteX2" fmla="*/ 0 w 4316422"/>
                <a:gd name="connsiteY2" fmla="*/ 62974 h 62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16422" h="625244">
                  <a:moveTo>
                    <a:pt x="4316422" y="625244"/>
                  </a:moveTo>
                  <a:cubicBezTo>
                    <a:pt x="3770243" y="385285"/>
                    <a:pt x="3224065" y="145327"/>
                    <a:pt x="2504661" y="51615"/>
                  </a:cubicBezTo>
                  <a:cubicBezTo>
                    <a:pt x="1785257" y="-42097"/>
                    <a:pt x="892628" y="10438"/>
                    <a:pt x="0" y="62974"/>
                  </a:cubicBezTo>
                </a:path>
              </a:pathLst>
            </a:custGeom>
            <a:noFill/>
            <a:ln w="31750" cap="flat" cmpd="sng" algn="ctr">
              <a:solidFill>
                <a:srgbClr val="00B050"/>
              </a:solidFill>
              <a:prstDash val="dash"/>
              <a:miter lim="800000"/>
              <a:headEnd type="triangle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08" name="任意多边形: 形状 119">
              <a:extLst>
                <a:ext uri="{FF2B5EF4-FFF2-40B4-BE49-F238E27FC236}">
                  <a16:creationId xmlns="" xmlns:a16="http://schemas.microsoft.com/office/drawing/2014/main" id="{EC0E5985-61E5-4C36-BD74-FB8BDEA44BC0}"/>
                </a:ext>
              </a:extLst>
            </p:cNvPr>
            <p:cNvSpPr/>
            <p:nvPr/>
          </p:nvSpPr>
          <p:spPr>
            <a:xfrm>
              <a:off x="16304205" y="-5537530"/>
              <a:ext cx="502952" cy="972307"/>
            </a:xfrm>
            <a:custGeom>
              <a:avLst/>
              <a:gdLst>
                <a:gd name="connsiteX0" fmla="*/ 357809 w 357809"/>
                <a:gd name="connsiteY0" fmla="*/ 1260850 h 1260850"/>
                <a:gd name="connsiteX1" fmla="*/ 0 w 357809"/>
                <a:gd name="connsiteY1" fmla="*/ 0 h 126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7809" h="1260850">
                  <a:moveTo>
                    <a:pt x="357809" y="1260850"/>
                  </a:moveTo>
                  <a:lnTo>
                    <a:pt x="0" y="0"/>
                  </a:lnTo>
                </a:path>
              </a:pathLst>
            </a:custGeom>
            <a:noFill/>
            <a:ln w="31750" cap="flat" cmpd="sng" algn="ctr">
              <a:solidFill>
                <a:srgbClr val="00B050"/>
              </a:solidFill>
              <a:prstDash val="dash"/>
              <a:miter lim="800000"/>
              <a:headEnd type="triangle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0" name="任意多边形: 形状 121">
              <a:extLst>
                <a:ext uri="{FF2B5EF4-FFF2-40B4-BE49-F238E27FC236}">
                  <a16:creationId xmlns="" xmlns:a16="http://schemas.microsoft.com/office/drawing/2014/main" id="{567FA429-CC3B-4EFE-A5FD-834D2A887B25}"/>
                </a:ext>
              </a:extLst>
            </p:cNvPr>
            <p:cNvSpPr/>
            <p:nvPr/>
          </p:nvSpPr>
          <p:spPr>
            <a:xfrm>
              <a:off x="15938436" y="-5495829"/>
              <a:ext cx="1884897" cy="2034627"/>
            </a:xfrm>
            <a:custGeom>
              <a:avLst/>
              <a:gdLst>
                <a:gd name="connsiteX0" fmla="*/ 1927670 w 1927670"/>
                <a:gd name="connsiteY0" fmla="*/ 2834072 h 2834072"/>
                <a:gd name="connsiteX1" fmla="*/ 201101 w 1927670"/>
                <a:gd name="connsiteY1" fmla="*/ 2124134 h 2834072"/>
                <a:gd name="connsiteX2" fmla="*/ 104550 w 1927670"/>
                <a:gd name="connsiteY2" fmla="*/ 0 h 2834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27670" h="2834072">
                  <a:moveTo>
                    <a:pt x="1927670" y="2834072"/>
                  </a:moveTo>
                  <a:cubicBezTo>
                    <a:pt x="1216312" y="2715275"/>
                    <a:pt x="504954" y="2596479"/>
                    <a:pt x="201101" y="2124134"/>
                  </a:cubicBezTo>
                  <a:cubicBezTo>
                    <a:pt x="-102752" y="1651789"/>
                    <a:pt x="899" y="825894"/>
                    <a:pt x="104550" y="0"/>
                  </a:cubicBezTo>
                </a:path>
              </a:pathLst>
            </a:custGeom>
            <a:noFill/>
            <a:ln w="31750" cap="flat" cmpd="sng" algn="ctr">
              <a:solidFill>
                <a:srgbClr val="00B050"/>
              </a:solidFill>
              <a:prstDash val="dash"/>
              <a:miter lim="800000"/>
              <a:headEnd type="triangle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1" name="任意多边形: 形状 122">
              <a:extLst>
                <a:ext uri="{FF2B5EF4-FFF2-40B4-BE49-F238E27FC236}">
                  <a16:creationId xmlns="" xmlns:a16="http://schemas.microsoft.com/office/drawing/2014/main" id="{832EC76A-B347-460F-B3B8-96FD2B6A3D68}"/>
                </a:ext>
              </a:extLst>
            </p:cNvPr>
            <p:cNvSpPr/>
            <p:nvPr/>
          </p:nvSpPr>
          <p:spPr>
            <a:xfrm>
              <a:off x="16580647" y="-5725645"/>
              <a:ext cx="3051971" cy="1114930"/>
            </a:xfrm>
            <a:custGeom>
              <a:avLst/>
              <a:gdLst>
                <a:gd name="connsiteX0" fmla="*/ 3532651 w 3532651"/>
                <a:gd name="connsiteY0" fmla="*/ 1510388 h 1510388"/>
                <a:gd name="connsiteX1" fmla="*/ 2385392 w 3532651"/>
                <a:gd name="connsiteY1" fmla="*/ 170025 h 1510388"/>
                <a:gd name="connsiteX2" fmla="*/ 0 w 3532651"/>
                <a:gd name="connsiteY2" fmla="*/ 62115 h 151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32651" h="1510388">
                  <a:moveTo>
                    <a:pt x="3532651" y="1510388"/>
                  </a:moveTo>
                  <a:cubicBezTo>
                    <a:pt x="3253409" y="960896"/>
                    <a:pt x="2974167" y="411404"/>
                    <a:pt x="2385392" y="170025"/>
                  </a:cubicBezTo>
                  <a:cubicBezTo>
                    <a:pt x="1796617" y="-71354"/>
                    <a:pt x="898308" y="-4620"/>
                    <a:pt x="0" y="62115"/>
                  </a:cubicBezTo>
                </a:path>
              </a:pathLst>
            </a:custGeom>
            <a:noFill/>
            <a:ln w="31750" cap="flat" cmpd="sng" algn="ctr">
              <a:solidFill>
                <a:srgbClr val="00B050"/>
              </a:solidFill>
              <a:prstDash val="dash"/>
              <a:miter lim="800000"/>
              <a:headEnd type="triangle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2" name="任意多边形: 形状 123">
              <a:extLst>
                <a:ext uri="{FF2B5EF4-FFF2-40B4-BE49-F238E27FC236}">
                  <a16:creationId xmlns="" xmlns:a16="http://schemas.microsoft.com/office/drawing/2014/main" id="{FE8B2AA8-16D4-46F8-87BA-B329DEB0ADEC}"/>
                </a:ext>
              </a:extLst>
            </p:cNvPr>
            <p:cNvSpPr/>
            <p:nvPr/>
          </p:nvSpPr>
          <p:spPr>
            <a:xfrm>
              <a:off x="15434268" y="-5532279"/>
              <a:ext cx="481380" cy="1579545"/>
            </a:xfrm>
            <a:custGeom>
              <a:avLst/>
              <a:gdLst>
                <a:gd name="connsiteX0" fmla="*/ 0 w 550912"/>
                <a:gd name="connsiteY0" fmla="*/ 2215006 h 2215006"/>
                <a:gd name="connsiteX1" fmla="*/ 107911 w 550912"/>
                <a:gd name="connsiteY1" fmla="*/ 1141580 h 2215006"/>
                <a:gd name="connsiteX2" fmla="*/ 550912 w 550912"/>
                <a:gd name="connsiteY2" fmla="*/ 0 h 221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0912" h="2215006">
                  <a:moveTo>
                    <a:pt x="0" y="2215006"/>
                  </a:moveTo>
                  <a:cubicBezTo>
                    <a:pt x="8046" y="1862877"/>
                    <a:pt x="16092" y="1510748"/>
                    <a:pt x="107911" y="1141580"/>
                  </a:cubicBezTo>
                  <a:cubicBezTo>
                    <a:pt x="199730" y="772412"/>
                    <a:pt x="375321" y="386206"/>
                    <a:pt x="550912" y="0"/>
                  </a:cubicBezTo>
                </a:path>
              </a:pathLst>
            </a:custGeom>
            <a:noFill/>
            <a:ln w="31750" cap="flat" cmpd="sng" algn="ctr">
              <a:solidFill>
                <a:srgbClr val="00B050"/>
              </a:solidFill>
              <a:prstDash val="dash"/>
              <a:miter lim="800000"/>
              <a:headEnd type="triangle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3" name="任意多边形: 形状 124">
              <a:extLst>
                <a:ext uri="{FF2B5EF4-FFF2-40B4-BE49-F238E27FC236}">
                  <a16:creationId xmlns="" xmlns:a16="http://schemas.microsoft.com/office/drawing/2014/main" id="{1B5956BF-94CA-4694-8246-53D0F6CF2736}"/>
                </a:ext>
              </a:extLst>
            </p:cNvPr>
            <p:cNvSpPr/>
            <p:nvPr/>
          </p:nvSpPr>
          <p:spPr>
            <a:xfrm rot="20512587">
              <a:off x="16433070" y="-6455903"/>
              <a:ext cx="1423405" cy="345379"/>
            </a:xfrm>
            <a:custGeom>
              <a:avLst/>
              <a:gdLst>
                <a:gd name="connsiteX0" fmla="*/ 2589853 w 2639141"/>
                <a:gd name="connsiteY0" fmla="*/ 14477 h 548350"/>
                <a:gd name="connsiteX1" fmla="*/ 2470584 w 2639141"/>
                <a:gd name="connsiteY1" fmla="*/ 3118 h 548350"/>
                <a:gd name="connsiteX2" fmla="*/ 1204054 w 2639141"/>
                <a:gd name="connsiteY2" fmla="*/ 59913 h 548350"/>
                <a:gd name="connsiteX3" fmla="*/ 0 w 2639141"/>
                <a:gd name="connsiteY3" fmla="*/ 548350 h 54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9141" h="548350">
                  <a:moveTo>
                    <a:pt x="2589853" y="14477"/>
                  </a:moveTo>
                  <a:cubicBezTo>
                    <a:pt x="2645701" y="5011"/>
                    <a:pt x="2701550" y="-4455"/>
                    <a:pt x="2470584" y="3118"/>
                  </a:cubicBezTo>
                  <a:cubicBezTo>
                    <a:pt x="2239618" y="10691"/>
                    <a:pt x="1615818" y="-30959"/>
                    <a:pt x="1204054" y="59913"/>
                  </a:cubicBezTo>
                  <a:cubicBezTo>
                    <a:pt x="792290" y="150785"/>
                    <a:pt x="396145" y="349567"/>
                    <a:pt x="0" y="548350"/>
                  </a:cubicBezTo>
                </a:path>
              </a:pathLst>
            </a:custGeom>
            <a:noFill/>
            <a:ln w="31750" cap="flat" cmpd="sng" algn="ctr">
              <a:solidFill>
                <a:srgbClr val="0070C0"/>
              </a:solidFill>
              <a:prstDash val="dash"/>
              <a:miter lim="800000"/>
              <a:headEnd type="triangle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5" name="任意多边形: 形状 131">
              <a:extLst>
                <a:ext uri="{FF2B5EF4-FFF2-40B4-BE49-F238E27FC236}">
                  <a16:creationId xmlns="" xmlns:a16="http://schemas.microsoft.com/office/drawing/2014/main" id="{6077E1F0-29C6-4F23-BB22-329B1D85C128}"/>
                </a:ext>
              </a:extLst>
            </p:cNvPr>
            <p:cNvSpPr/>
            <p:nvPr/>
          </p:nvSpPr>
          <p:spPr>
            <a:xfrm>
              <a:off x="14160784" y="-5609231"/>
              <a:ext cx="1725090" cy="878942"/>
            </a:xfrm>
            <a:custGeom>
              <a:avLst/>
              <a:gdLst>
                <a:gd name="connsiteX0" fmla="*/ 1874236 w 1874236"/>
                <a:gd name="connsiteY0" fmla="*/ 0 h 1187016"/>
                <a:gd name="connsiteX1" fmla="*/ 891682 w 1874236"/>
                <a:gd name="connsiteY1" fmla="*/ 511155 h 1187016"/>
                <a:gd name="connsiteX2" fmla="*/ 0 w 1874236"/>
                <a:gd name="connsiteY2" fmla="*/ 1187016 h 1187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74236" h="1187016">
                  <a:moveTo>
                    <a:pt x="1874236" y="0"/>
                  </a:moveTo>
                  <a:cubicBezTo>
                    <a:pt x="1539145" y="156659"/>
                    <a:pt x="1204055" y="313319"/>
                    <a:pt x="891682" y="511155"/>
                  </a:cubicBezTo>
                  <a:cubicBezTo>
                    <a:pt x="579309" y="708991"/>
                    <a:pt x="289654" y="948003"/>
                    <a:pt x="0" y="1187016"/>
                  </a:cubicBezTo>
                </a:path>
              </a:pathLst>
            </a:custGeom>
            <a:noFill/>
            <a:ln w="31750" cap="flat" cmpd="sng" algn="ctr">
              <a:solidFill>
                <a:srgbClr val="FFC000"/>
              </a:solidFill>
              <a:prstDash val="dash"/>
              <a:miter lim="800000"/>
              <a:headEnd type="triangle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8" name="任意多边形: 形状 141">
              <a:extLst>
                <a:ext uri="{FF2B5EF4-FFF2-40B4-BE49-F238E27FC236}">
                  <a16:creationId xmlns="" xmlns:a16="http://schemas.microsoft.com/office/drawing/2014/main" id="{56E0B9AF-36BF-47E8-A17A-68780C4627B0}"/>
                </a:ext>
              </a:extLst>
            </p:cNvPr>
            <p:cNvSpPr/>
            <p:nvPr/>
          </p:nvSpPr>
          <p:spPr>
            <a:xfrm rot="10800000">
              <a:off x="16152883" y="-5476904"/>
              <a:ext cx="451934" cy="940928"/>
            </a:xfrm>
            <a:custGeom>
              <a:avLst/>
              <a:gdLst>
                <a:gd name="connsiteX0" fmla="*/ 357809 w 357809"/>
                <a:gd name="connsiteY0" fmla="*/ 1260850 h 1260850"/>
                <a:gd name="connsiteX1" fmla="*/ 0 w 357809"/>
                <a:gd name="connsiteY1" fmla="*/ 0 h 126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7809" h="1260850">
                  <a:moveTo>
                    <a:pt x="357809" y="1260850"/>
                  </a:moveTo>
                  <a:lnTo>
                    <a:pt x="0" y="0"/>
                  </a:lnTo>
                </a:path>
              </a:pathLst>
            </a:custGeom>
            <a:noFill/>
            <a:ln w="31750" cap="flat" cmpd="sng" algn="ctr">
              <a:solidFill>
                <a:srgbClr val="C00000"/>
              </a:solidFill>
              <a:prstDash val="dash"/>
              <a:miter lim="800000"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20" name="任意多边形: 形状 147">
              <a:extLst>
                <a:ext uri="{FF2B5EF4-FFF2-40B4-BE49-F238E27FC236}">
                  <a16:creationId xmlns="" xmlns:a16="http://schemas.microsoft.com/office/drawing/2014/main" id="{81BC5BF9-7DFF-4385-8663-A658F230EF26}"/>
                </a:ext>
              </a:extLst>
            </p:cNvPr>
            <p:cNvSpPr/>
            <p:nvPr/>
          </p:nvSpPr>
          <p:spPr>
            <a:xfrm rot="10800000">
              <a:off x="16539835" y="-5666619"/>
              <a:ext cx="1750766" cy="565177"/>
            </a:xfrm>
            <a:custGeom>
              <a:avLst/>
              <a:gdLst>
                <a:gd name="connsiteX0" fmla="*/ 357809 w 357809"/>
                <a:gd name="connsiteY0" fmla="*/ 1260850 h 1260850"/>
                <a:gd name="connsiteX1" fmla="*/ 0 w 357809"/>
                <a:gd name="connsiteY1" fmla="*/ 0 h 126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7809" h="1260850">
                  <a:moveTo>
                    <a:pt x="357809" y="1260850"/>
                  </a:moveTo>
                  <a:lnTo>
                    <a:pt x="0" y="0"/>
                  </a:lnTo>
                </a:path>
              </a:pathLst>
            </a:custGeom>
            <a:noFill/>
            <a:ln w="31750" cap="flat" cmpd="sng" algn="ctr">
              <a:solidFill>
                <a:srgbClr val="C00000"/>
              </a:solidFill>
              <a:prstDash val="dash"/>
              <a:miter lim="800000"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32" name="任意多边形: 形状 167">
              <a:extLst>
                <a:ext uri="{FF2B5EF4-FFF2-40B4-BE49-F238E27FC236}">
                  <a16:creationId xmlns="" xmlns:a16="http://schemas.microsoft.com/office/drawing/2014/main" id="{189F467B-7ED8-4F23-A62B-756775865E07}"/>
                </a:ext>
              </a:extLst>
            </p:cNvPr>
            <p:cNvSpPr/>
            <p:nvPr/>
          </p:nvSpPr>
          <p:spPr>
            <a:xfrm rot="295946">
              <a:off x="16379357" y="-5495231"/>
              <a:ext cx="1813507" cy="858584"/>
            </a:xfrm>
            <a:custGeom>
              <a:avLst/>
              <a:gdLst>
                <a:gd name="connsiteX0" fmla="*/ 1101823 w 1101823"/>
                <a:gd name="connsiteY0" fmla="*/ 789451 h 789451"/>
                <a:gd name="connsiteX1" fmla="*/ 0 w 1101823"/>
                <a:gd name="connsiteY1" fmla="*/ 0 h 78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1823" h="789451">
                  <a:moveTo>
                    <a:pt x="1101823" y="789451"/>
                  </a:moveTo>
                  <a:lnTo>
                    <a:pt x="0" y="0"/>
                  </a:lnTo>
                </a:path>
              </a:pathLst>
            </a:custGeom>
            <a:noFill/>
            <a:ln w="31750" cap="flat" cmpd="sng" algn="ctr">
              <a:solidFill>
                <a:srgbClr val="00B050"/>
              </a:solidFill>
              <a:prstDash val="dash"/>
              <a:miter lim="800000"/>
              <a:headEnd type="triangle"/>
              <a:tailEnd type="triangle"/>
            </a:ln>
            <a:effectLst/>
          </p:spPr>
          <p:txBody>
            <a:bodyPr rtlCol="0" anchor="ctr"/>
            <a:lstStyle/>
            <a:p>
              <a:pPr algn="ctr"/>
              <a:endParaRPr lang="zh-CN" altLang="en-US" sz="1000" kern="0">
                <a:solidFill>
                  <a:prstClr val="whit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pic>
        <p:nvPicPr>
          <p:cNvPr id="408" name="图片 12">
            <a:extLst>
              <a:ext uri="{FF2B5EF4-FFF2-40B4-BE49-F238E27FC236}">
                <a16:creationId xmlns="" xmlns:a16="http://schemas.microsoft.com/office/drawing/2014/main" id="{6461DDBE-4D65-4D6E-9EBC-45A862A0C45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7993" y="2569697"/>
            <a:ext cx="611139" cy="446100"/>
          </a:xfrm>
          <a:prstGeom prst="rect">
            <a:avLst/>
          </a:prstGeom>
        </p:spPr>
      </p:pic>
      <p:pic>
        <p:nvPicPr>
          <p:cNvPr id="419" name="图片 16">
            <a:extLst>
              <a:ext uri="{FF2B5EF4-FFF2-40B4-BE49-F238E27FC236}">
                <a16:creationId xmlns="" xmlns:a16="http://schemas.microsoft.com/office/drawing/2014/main" id="{804270BA-41EA-445F-AC23-C9035E81355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213" y="2503750"/>
            <a:ext cx="293536" cy="96954"/>
          </a:xfrm>
          <a:prstGeom prst="rect">
            <a:avLst/>
          </a:prstGeom>
        </p:spPr>
      </p:pic>
      <p:pic>
        <p:nvPicPr>
          <p:cNvPr id="422" name="图片 14">
            <a:extLst>
              <a:ext uri="{FF2B5EF4-FFF2-40B4-BE49-F238E27FC236}">
                <a16:creationId xmlns="" xmlns:a16="http://schemas.microsoft.com/office/drawing/2014/main" id="{4206F44A-71DC-49F9-AC4D-3A64CC2D89BA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593" y="2179263"/>
            <a:ext cx="292965" cy="96765"/>
          </a:xfrm>
          <a:prstGeom prst="rect">
            <a:avLst/>
          </a:prstGeom>
        </p:spPr>
      </p:pic>
      <p:sp>
        <p:nvSpPr>
          <p:cNvPr id="424" name="文本框 36">
            <a:extLst>
              <a:ext uri="{FF2B5EF4-FFF2-40B4-BE49-F238E27FC236}">
                <a16:creationId xmlns="" xmlns:a16="http://schemas.microsoft.com/office/drawing/2014/main" id="{E128EC87-F5A5-4FE3-BCDB-9A5F4099D272}"/>
              </a:ext>
            </a:extLst>
          </p:cNvPr>
          <p:cNvSpPr txBox="1"/>
          <p:nvPr/>
        </p:nvSpPr>
        <p:spPr>
          <a:xfrm rot="1754619">
            <a:off x="3368370" y="1994294"/>
            <a:ext cx="125598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Security Management</a:t>
            </a:r>
            <a:endParaRPr lang="zh-CN" altLang="en-US" sz="1000" b="1" dirty="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25" name="Oval 424">
            <a:extLst>
              <a:ext uri="{FF2B5EF4-FFF2-40B4-BE49-F238E27FC236}">
                <a16:creationId xmlns="" xmlns:a16="http://schemas.microsoft.com/office/drawing/2014/main" id="{833C0E73-B056-4604-8DC2-2F2F0F886636}"/>
              </a:ext>
            </a:extLst>
          </p:cNvPr>
          <p:cNvSpPr/>
          <p:nvPr/>
        </p:nvSpPr>
        <p:spPr>
          <a:xfrm>
            <a:off x="3002066" y="2046041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6" name="文本框 31">
            <a:extLst>
              <a:ext uri="{FF2B5EF4-FFF2-40B4-BE49-F238E27FC236}">
                <a16:creationId xmlns="" xmlns:a16="http://schemas.microsoft.com/office/drawing/2014/main" id="{FF3FABB5-EF94-4A3A-899A-35198966C9FA}"/>
              </a:ext>
            </a:extLst>
          </p:cNvPr>
          <p:cNvSpPr txBox="1"/>
          <p:nvPr/>
        </p:nvSpPr>
        <p:spPr>
          <a:xfrm>
            <a:off x="2850047" y="2472665"/>
            <a:ext cx="6668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HSM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38" name="Oval 437">
            <a:extLst>
              <a:ext uri="{FF2B5EF4-FFF2-40B4-BE49-F238E27FC236}">
                <a16:creationId xmlns="" xmlns:a16="http://schemas.microsoft.com/office/drawing/2014/main" id="{4FDD6C9A-C34C-4F98-80C0-42E09AE82E59}"/>
              </a:ext>
            </a:extLst>
          </p:cNvPr>
          <p:cNvSpPr/>
          <p:nvPr/>
        </p:nvSpPr>
        <p:spPr>
          <a:xfrm>
            <a:off x="3570276" y="2365188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9" name="文本框 31">
            <a:extLst>
              <a:ext uri="{FF2B5EF4-FFF2-40B4-BE49-F238E27FC236}">
                <a16:creationId xmlns="" xmlns:a16="http://schemas.microsoft.com/office/drawing/2014/main" id="{AA79FF46-59DC-4D60-B587-B9235F81C204}"/>
              </a:ext>
            </a:extLst>
          </p:cNvPr>
          <p:cNvSpPr txBox="1"/>
          <p:nvPr/>
        </p:nvSpPr>
        <p:spPr>
          <a:xfrm>
            <a:off x="3418257" y="2791812"/>
            <a:ext cx="6668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HSA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40" name="文本框 36">
            <a:extLst>
              <a:ext uri="{FF2B5EF4-FFF2-40B4-BE49-F238E27FC236}">
                <a16:creationId xmlns="" xmlns:a16="http://schemas.microsoft.com/office/drawing/2014/main" id="{D18D7067-62C7-464F-9392-40A086C19738}"/>
              </a:ext>
            </a:extLst>
          </p:cNvPr>
          <p:cNvSpPr txBox="1"/>
          <p:nvPr/>
        </p:nvSpPr>
        <p:spPr>
          <a:xfrm rot="1754619">
            <a:off x="9466886" y="2741320"/>
            <a:ext cx="1255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loud</a:t>
            </a:r>
            <a:endParaRPr lang="zh-CN" altLang="en-US" sz="1000" b="1" dirty="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41" name="Oval 440">
            <a:extLst>
              <a:ext uri="{FF2B5EF4-FFF2-40B4-BE49-F238E27FC236}">
                <a16:creationId xmlns="" xmlns:a16="http://schemas.microsoft.com/office/drawing/2014/main" id="{19C390FB-4B19-4F3E-B61C-45324137B329}"/>
              </a:ext>
            </a:extLst>
          </p:cNvPr>
          <p:cNvSpPr/>
          <p:nvPr/>
        </p:nvSpPr>
        <p:spPr>
          <a:xfrm>
            <a:off x="8901399" y="2662627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2" name="文本框 31">
            <a:extLst>
              <a:ext uri="{FF2B5EF4-FFF2-40B4-BE49-F238E27FC236}">
                <a16:creationId xmlns="" xmlns:a16="http://schemas.microsoft.com/office/drawing/2014/main" id="{5AA4469D-1DB1-443F-9C72-DE9899E574CD}"/>
              </a:ext>
            </a:extLst>
          </p:cNvPr>
          <p:cNvSpPr txBox="1"/>
          <p:nvPr/>
        </p:nvSpPr>
        <p:spPr>
          <a:xfrm>
            <a:off x="8749380" y="3085620"/>
            <a:ext cx="6668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loudEdge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43" name="Oval 442">
            <a:extLst>
              <a:ext uri="{FF2B5EF4-FFF2-40B4-BE49-F238E27FC236}">
                <a16:creationId xmlns="" xmlns:a16="http://schemas.microsoft.com/office/drawing/2014/main" id="{925CD9C3-F691-4861-AF4C-163B74F6A669}"/>
              </a:ext>
            </a:extLst>
          </p:cNvPr>
          <p:cNvSpPr/>
          <p:nvPr/>
        </p:nvSpPr>
        <p:spPr>
          <a:xfrm>
            <a:off x="9472932" y="2921462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4" name="文本框 31">
            <a:extLst>
              <a:ext uri="{FF2B5EF4-FFF2-40B4-BE49-F238E27FC236}">
                <a16:creationId xmlns="" xmlns:a16="http://schemas.microsoft.com/office/drawing/2014/main" id="{B7DF1824-A54A-449F-A5E5-488E95BEDF98}"/>
              </a:ext>
            </a:extLst>
          </p:cNvPr>
          <p:cNvSpPr txBox="1"/>
          <p:nvPr/>
        </p:nvSpPr>
        <p:spPr>
          <a:xfrm>
            <a:off x="9320913" y="3344455"/>
            <a:ext cx="6668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loudHIve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451" name="图片 43">
            <a:extLst>
              <a:ext uri="{FF2B5EF4-FFF2-40B4-BE49-F238E27FC236}">
                <a16:creationId xmlns="" xmlns:a16="http://schemas.microsoft.com/office/drawing/2014/main" id="{991D2663-BDD3-47C5-A547-E10CFFCDB97D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949" y="1523725"/>
            <a:ext cx="247874" cy="153406"/>
          </a:xfrm>
          <a:prstGeom prst="rect">
            <a:avLst/>
          </a:prstGeom>
        </p:spPr>
      </p:pic>
      <p:pic>
        <p:nvPicPr>
          <p:cNvPr id="449" name="图片 41">
            <a:extLst>
              <a:ext uri="{FF2B5EF4-FFF2-40B4-BE49-F238E27FC236}">
                <a16:creationId xmlns="" xmlns:a16="http://schemas.microsoft.com/office/drawing/2014/main" id="{CF7D8704-F38C-4325-B98A-FD2ECD1FBEA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3877" y="1522689"/>
            <a:ext cx="285179" cy="141606"/>
          </a:xfrm>
          <a:prstGeom prst="rect">
            <a:avLst/>
          </a:prstGeom>
        </p:spPr>
      </p:pic>
      <p:sp>
        <p:nvSpPr>
          <p:cNvPr id="454" name="Oval 453">
            <a:extLst>
              <a:ext uri="{FF2B5EF4-FFF2-40B4-BE49-F238E27FC236}">
                <a16:creationId xmlns="" xmlns:a16="http://schemas.microsoft.com/office/drawing/2014/main" id="{3AD388E4-7AE8-4A65-801A-F41B3E5A85B2}"/>
              </a:ext>
            </a:extLst>
          </p:cNvPr>
          <p:cNvSpPr/>
          <p:nvPr/>
        </p:nvSpPr>
        <p:spPr>
          <a:xfrm>
            <a:off x="6293069" y="1422123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5" name="文本框 31">
            <a:extLst>
              <a:ext uri="{FF2B5EF4-FFF2-40B4-BE49-F238E27FC236}">
                <a16:creationId xmlns="" xmlns:a16="http://schemas.microsoft.com/office/drawing/2014/main" id="{D8F7A8C5-EF09-43BE-8FD5-04ADBAA72444}"/>
              </a:ext>
            </a:extLst>
          </p:cNvPr>
          <p:cNvSpPr txBox="1"/>
          <p:nvPr/>
        </p:nvSpPr>
        <p:spPr>
          <a:xfrm>
            <a:off x="6141050" y="1845116"/>
            <a:ext cx="66687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ntelligence Center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56" name="Oval 455">
            <a:extLst>
              <a:ext uri="{FF2B5EF4-FFF2-40B4-BE49-F238E27FC236}">
                <a16:creationId xmlns="" xmlns:a16="http://schemas.microsoft.com/office/drawing/2014/main" id="{7AF62435-3026-49B2-9F95-8DEB031A22F2}"/>
              </a:ext>
            </a:extLst>
          </p:cNvPr>
          <p:cNvSpPr/>
          <p:nvPr/>
        </p:nvSpPr>
        <p:spPr>
          <a:xfrm>
            <a:off x="7183611" y="1420908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7" name="文本框 31">
            <a:extLst>
              <a:ext uri="{FF2B5EF4-FFF2-40B4-BE49-F238E27FC236}">
                <a16:creationId xmlns="" xmlns:a16="http://schemas.microsoft.com/office/drawing/2014/main" id="{003DB288-5D35-4DDB-AE2C-296DA48BF25F}"/>
              </a:ext>
            </a:extLst>
          </p:cNvPr>
          <p:cNvSpPr txBox="1"/>
          <p:nvPr/>
        </p:nvSpPr>
        <p:spPr>
          <a:xfrm>
            <a:off x="7031592" y="1843901"/>
            <a:ext cx="66687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loud</a:t>
            </a:r>
            <a:r>
              <a:rPr lang="zh-CN" altLang="en-US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Sandbox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464" name="图片 59">
            <a:extLst>
              <a:ext uri="{FF2B5EF4-FFF2-40B4-BE49-F238E27FC236}">
                <a16:creationId xmlns="" xmlns:a16="http://schemas.microsoft.com/office/drawing/2014/main" id="{B9B09243-3D33-401D-9FA8-72C7BD5A9C04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035" y="3069870"/>
            <a:ext cx="246997" cy="81731"/>
          </a:xfrm>
          <a:prstGeom prst="rect">
            <a:avLst/>
          </a:prstGeom>
        </p:spPr>
      </p:pic>
      <p:pic>
        <p:nvPicPr>
          <p:cNvPr id="462" name="图片 57">
            <a:extLst>
              <a:ext uri="{FF2B5EF4-FFF2-40B4-BE49-F238E27FC236}">
                <a16:creationId xmlns="" xmlns:a16="http://schemas.microsoft.com/office/drawing/2014/main" id="{0EDED5A7-A2A3-43D5-9FED-80839ED1EC84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7312" y="3465743"/>
            <a:ext cx="246715" cy="81786"/>
          </a:xfrm>
          <a:prstGeom prst="rect">
            <a:avLst/>
          </a:prstGeom>
        </p:spPr>
      </p:pic>
      <p:sp>
        <p:nvSpPr>
          <p:cNvPr id="468" name="文本框 36">
            <a:extLst>
              <a:ext uri="{FF2B5EF4-FFF2-40B4-BE49-F238E27FC236}">
                <a16:creationId xmlns="" xmlns:a16="http://schemas.microsoft.com/office/drawing/2014/main" id="{1D43034B-0499-4C3A-AB20-53DE59F25A40}"/>
              </a:ext>
            </a:extLst>
          </p:cNvPr>
          <p:cNvSpPr txBox="1"/>
          <p:nvPr/>
        </p:nvSpPr>
        <p:spPr>
          <a:xfrm rot="1754619">
            <a:off x="6282204" y="3045577"/>
            <a:ext cx="1255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erimeter</a:t>
            </a:r>
            <a:endParaRPr lang="zh-CN" altLang="en-US" sz="1000" b="1" dirty="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71" name="Oval 470">
            <a:extLst>
              <a:ext uri="{FF2B5EF4-FFF2-40B4-BE49-F238E27FC236}">
                <a16:creationId xmlns="" xmlns:a16="http://schemas.microsoft.com/office/drawing/2014/main" id="{EEDD44C3-57FE-4812-990A-7CF639D09EFF}"/>
              </a:ext>
            </a:extLst>
          </p:cNvPr>
          <p:cNvSpPr/>
          <p:nvPr/>
        </p:nvSpPr>
        <p:spPr>
          <a:xfrm>
            <a:off x="5930113" y="2929315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2" name="文本框 31">
            <a:extLst>
              <a:ext uri="{FF2B5EF4-FFF2-40B4-BE49-F238E27FC236}">
                <a16:creationId xmlns="" xmlns:a16="http://schemas.microsoft.com/office/drawing/2014/main" id="{4175433E-EC97-4C28-B005-06645BF64E98}"/>
              </a:ext>
            </a:extLst>
          </p:cNvPr>
          <p:cNvSpPr txBox="1"/>
          <p:nvPr/>
        </p:nvSpPr>
        <p:spPr>
          <a:xfrm>
            <a:off x="6313942" y="3189301"/>
            <a:ext cx="35849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GFW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73" name="Oval 472">
            <a:extLst>
              <a:ext uri="{FF2B5EF4-FFF2-40B4-BE49-F238E27FC236}">
                <a16:creationId xmlns="" xmlns:a16="http://schemas.microsoft.com/office/drawing/2014/main" id="{5237A121-1D38-4A0E-AB22-F164B043278F}"/>
              </a:ext>
            </a:extLst>
          </p:cNvPr>
          <p:cNvSpPr/>
          <p:nvPr/>
        </p:nvSpPr>
        <p:spPr>
          <a:xfrm>
            <a:off x="6679249" y="3325216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4" name="文本框 31">
            <a:extLst>
              <a:ext uri="{FF2B5EF4-FFF2-40B4-BE49-F238E27FC236}">
                <a16:creationId xmlns="" xmlns:a16="http://schemas.microsoft.com/office/drawing/2014/main" id="{B34ACB81-A536-4BD2-8E57-D8513F4C6E46}"/>
              </a:ext>
            </a:extLst>
          </p:cNvPr>
          <p:cNvSpPr txBox="1"/>
          <p:nvPr/>
        </p:nvSpPr>
        <p:spPr>
          <a:xfrm>
            <a:off x="7020866" y="3578206"/>
            <a:ext cx="31628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IPS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477" name="图片 87">
            <a:extLst>
              <a:ext uri="{FF2B5EF4-FFF2-40B4-BE49-F238E27FC236}">
                <a16:creationId xmlns="" xmlns:a16="http://schemas.microsoft.com/office/drawing/2014/main" id="{2E830F3A-55B6-4280-88C7-1B49032FF2D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565409" y="3814312"/>
            <a:ext cx="203926" cy="128681"/>
          </a:xfrm>
          <a:prstGeom prst="rect">
            <a:avLst/>
          </a:prstGeom>
        </p:spPr>
      </p:pic>
      <p:pic>
        <p:nvPicPr>
          <p:cNvPr id="479" name="图片 92">
            <a:extLst>
              <a:ext uri="{FF2B5EF4-FFF2-40B4-BE49-F238E27FC236}">
                <a16:creationId xmlns="" xmlns:a16="http://schemas.microsoft.com/office/drawing/2014/main" id="{E34C4A83-9F75-4D95-8BAB-CA702C8E1B43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451" y="4091052"/>
            <a:ext cx="223508" cy="128681"/>
          </a:xfrm>
          <a:prstGeom prst="rect">
            <a:avLst/>
          </a:prstGeom>
        </p:spPr>
      </p:pic>
      <p:sp>
        <p:nvSpPr>
          <p:cNvPr id="483" name="文本框 36">
            <a:extLst>
              <a:ext uri="{FF2B5EF4-FFF2-40B4-BE49-F238E27FC236}">
                <a16:creationId xmlns="" xmlns:a16="http://schemas.microsoft.com/office/drawing/2014/main" id="{E22E7E50-CBC5-40BE-9CB4-BC5F65DF6D99}"/>
              </a:ext>
            </a:extLst>
          </p:cNvPr>
          <p:cNvSpPr txBox="1"/>
          <p:nvPr/>
        </p:nvSpPr>
        <p:spPr>
          <a:xfrm rot="1754619">
            <a:off x="5016297" y="3788237"/>
            <a:ext cx="1255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ore Business</a:t>
            </a:r>
            <a:endParaRPr lang="zh-CN" altLang="en-US" sz="1000" b="1" dirty="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84" name="Oval 483">
            <a:extLst>
              <a:ext uri="{FF2B5EF4-FFF2-40B4-BE49-F238E27FC236}">
                <a16:creationId xmlns="" xmlns:a16="http://schemas.microsoft.com/office/drawing/2014/main" id="{B8CDA913-5EA8-4544-8A99-ED7BB2B410DF}"/>
              </a:ext>
            </a:extLst>
          </p:cNvPr>
          <p:cNvSpPr/>
          <p:nvPr/>
        </p:nvSpPr>
        <p:spPr>
          <a:xfrm>
            <a:off x="4491393" y="3686902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5" name="文本框 31">
            <a:extLst>
              <a:ext uri="{FF2B5EF4-FFF2-40B4-BE49-F238E27FC236}">
                <a16:creationId xmlns="" xmlns:a16="http://schemas.microsoft.com/office/drawing/2014/main" id="{DF62AD32-8BDC-4379-8350-F77EA2D9424C}"/>
              </a:ext>
            </a:extLst>
          </p:cNvPr>
          <p:cNvSpPr txBox="1"/>
          <p:nvPr/>
        </p:nvSpPr>
        <p:spPr>
          <a:xfrm>
            <a:off x="4875222" y="3946888"/>
            <a:ext cx="35849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GFW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86" name="Oval 485">
            <a:extLst>
              <a:ext uri="{FF2B5EF4-FFF2-40B4-BE49-F238E27FC236}">
                <a16:creationId xmlns="" xmlns:a16="http://schemas.microsoft.com/office/drawing/2014/main" id="{C0B1867A-3263-44DB-ADA1-4E08BEE5366B}"/>
              </a:ext>
            </a:extLst>
          </p:cNvPr>
          <p:cNvSpPr/>
          <p:nvPr/>
        </p:nvSpPr>
        <p:spPr>
          <a:xfrm>
            <a:off x="5172755" y="3968534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7" name="文本框 31">
            <a:extLst>
              <a:ext uri="{FF2B5EF4-FFF2-40B4-BE49-F238E27FC236}">
                <a16:creationId xmlns="" xmlns:a16="http://schemas.microsoft.com/office/drawing/2014/main" id="{3218A82B-0D97-4CF1-AD67-32F150C36ADA}"/>
              </a:ext>
            </a:extLst>
          </p:cNvPr>
          <p:cNvSpPr txBox="1"/>
          <p:nvPr/>
        </p:nvSpPr>
        <p:spPr>
          <a:xfrm>
            <a:off x="5564920" y="4169201"/>
            <a:ext cx="43528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Data Center</a:t>
            </a:r>
            <a:r>
              <a:rPr lang="zh-CN" altLang="en-US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GFW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489" name="图片 64">
            <a:extLst>
              <a:ext uri="{FF2B5EF4-FFF2-40B4-BE49-F238E27FC236}">
                <a16:creationId xmlns="" xmlns:a16="http://schemas.microsoft.com/office/drawing/2014/main" id="{DC10836D-54AF-4232-A7D0-09628FE26CBA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443" y="5340957"/>
            <a:ext cx="191661" cy="128814"/>
          </a:xfrm>
          <a:prstGeom prst="rect">
            <a:avLst/>
          </a:prstGeom>
        </p:spPr>
      </p:pic>
      <p:pic>
        <p:nvPicPr>
          <p:cNvPr id="490" name="图片 65">
            <a:extLst>
              <a:ext uri="{FF2B5EF4-FFF2-40B4-BE49-F238E27FC236}">
                <a16:creationId xmlns="" xmlns:a16="http://schemas.microsoft.com/office/drawing/2014/main" id="{E6A17619-8D0D-4007-98F0-BC7F5D5499F7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753039" y="4902259"/>
            <a:ext cx="195799" cy="104214"/>
          </a:xfrm>
          <a:prstGeom prst="rect">
            <a:avLst/>
          </a:prstGeom>
        </p:spPr>
      </p:pic>
      <p:pic>
        <p:nvPicPr>
          <p:cNvPr id="491" name="图片 68">
            <a:extLst>
              <a:ext uri="{FF2B5EF4-FFF2-40B4-BE49-F238E27FC236}">
                <a16:creationId xmlns="" xmlns:a16="http://schemas.microsoft.com/office/drawing/2014/main" id="{FCC82198-6ACA-4BF1-8FCA-C2E3A72959F9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290983" y="4612064"/>
            <a:ext cx="194888" cy="185007"/>
          </a:xfrm>
          <a:prstGeom prst="rect">
            <a:avLst/>
          </a:prstGeom>
        </p:spPr>
      </p:pic>
      <p:sp>
        <p:nvSpPr>
          <p:cNvPr id="493" name="文本框 36">
            <a:extLst>
              <a:ext uri="{FF2B5EF4-FFF2-40B4-BE49-F238E27FC236}">
                <a16:creationId xmlns="" xmlns:a16="http://schemas.microsoft.com/office/drawing/2014/main" id="{C9B9E6DD-ADA9-49AE-A555-720203DFA682}"/>
              </a:ext>
            </a:extLst>
          </p:cNvPr>
          <p:cNvSpPr txBox="1"/>
          <p:nvPr/>
        </p:nvSpPr>
        <p:spPr>
          <a:xfrm rot="1754619">
            <a:off x="6512496" y="4642834"/>
            <a:ext cx="1255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ntranet</a:t>
            </a:r>
            <a:endParaRPr lang="zh-CN" altLang="en-US" sz="1000" b="1" dirty="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94" name="文本框 36">
            <a:extLst>
              <a:ext uri="{FF2B5EF4-FFF2-40B4-BE49-F238E27FC236}">
                <a16:creationId xmlns="" xmlns:a16="http://schemas.microsoft.com/office/drawing/2014/main" id="{9461411A-2E5B-4330-869E-AE329B1E7B79}"/>
              </a:ext>
            </a:extLst>
          </p:cNvPr>
          <p:cNvSpPr txBox="1"/>
          <p:nvPr/>
        </p:nvSpPr>
        <p:spPr>
          <a:xfrm rot="1754619">
            <a:off x="7807615" y="3911032"/>
            <a:ext cx="1255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DMZ</a:t>
            </a:r>
            <a:endParaRPr lang="zh-CN" altLang="en-US" sz="1000" b="1" dirty="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07" name="Oval 506">
            <a:extLst>
              <a:ext uri="{FF2B5EF4-FFF2-40B4-BE49-F238E27FC236}">
                <a16:creationId xmlns="" xmlns:a16="http://schemas.microsoft.com/office/drawing/2014/main" id="{EDA058C5-A874-423C-BA89-EE42EE90E684}"/>
              </a:ext>
            </a:extLst>
          </p:cNvPr>
          <p:cNvSpPr/>
          <p:nvPr/>
        </p:nvSpPr>
        <p:spPr>
          <a:xfrm>
            <a:off x="6210106" y="4517163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8" name="Oval 507">
            <a:extLst>
              <a:ext uri="{FF2B5EF4-FFF2-40B4-BE49-F238E27FC236}">
                <a16:creationId xmlns="" xmlns:a16="http://schemas.microsoft.com/office/drawing/2014/main" id="{281F31E1-68F0-4686-B926-043ECF46C1D9}"/>
              </a:ext>
            </a:extLst>
          </p:cNvPr>
          <p:cNvSpPr/>
          <p:nvPr/>
        </p:nvSpPr>
        <p:spPr>
          <a:xfrm>
            <a:off x="6660854" y="4766845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9" name="Oval 508">
            <a:extLst>
              <a:ext uri="{FF2B5EF4-FFF2-40B4-BE49-F238E27FC236}">
                <a16:creationId xmlns="" xmlns:a16="http://schemas.microsoft.com/office/drawing/2014/main" id="{9279F95C-C66B-44B4-9682-970DC4D5A491}"/>
              </a:ext>
            </a:extLst>
          </p:cNvPr>
          <p:cNvSpPr/>
          <p:nvPr/>
        </p:nvSpPr>
        <p:spPr>
          <a:xfrm>
            <a:off x="6660854" y="5223944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0" name="文本框 31">
            <a:extLst>
              <a:ext uri="{FF2B5EF4-FFF2-40B4-BE49-F238E27FC236}">
                <a16:creationId xmlns="" xmlns:a16="http://schemas.microsoft.com/office/drawing/2014/main" id="{0795AF59-DA84-420C-817B-03AE292A36C9}"/>
              </a:ext>
            </a:extLst>
          </p:cNvPr>
          <p:cNvSpPr txBox="1"/>
          <p:nvPr/>
        </p:nvSpPr>
        <p:spPr>
          <a:xfrm>
            <a:off x="7003162" y="5121211"/>
            <a:ext cx="52275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Endpoints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511" name="图片 104">
            <a:extLst>
              <a:ext uri="{FF2B5EF4-FFF2-40B4-BE49-F238E27FC236}">
                <a16:creationId xmlns="" xmlns:a16="http://schemas.microsoft.com/office/drawing/2014/main" id="{1978C9BF-4082-4D53-AF7B-D2535D23EB31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3981" y="3350847"/>
            <a:ext cx="234801" cy="223353"/>
          </a:xfrm>
          <a:prstGeom prst="rect">
            <a:avLst/>
          </a:prstGeom>
        </p:spPr>
      </p:pic>
      <p:sp>
        <p:nvSpPr>
          <p:cNvPr id="512" name="Oval 511">
            <a:extLst>
              <a:ext uri="{FF2B5EF4-FFF2-40B4-BE49-F238E27FC236}">
                <a16:creationId xmlns="" xmlns:a16="http://schemas.microsoft.com/office/drawing/2014/main" id="{15A5EDF2-279E-410C-8629-1CA564087654}"/>
              </a:ext>
            </a:extLst>
          </p:cNvPr>
          <p:cNvSpPr/>
          <p:nvPr/>
        </p:nvSpPr>
        <p:spPr>
          <a:xfrm>
            <a:off x="9985227" y="3270967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3" name="文本框 31">
            <a:extLst>
              <a:ext uri="{FF2B5EF4-FFF2-40B4-BE49-F238E27FC236}">
                <a16:creationId xmlns="" xmlns:a16="http://schemas.microsoft.com/office/drawing/2014/main" id="{7F0A2E06-FF12-4923-BDDF-DBB566CA7753}"/>
              </a:ext>
            </a:extLst>
          </p:cNvPr>
          <p:cNvSpPr txBox="1"/>
          <p:nvPr/>
        </p:nvSpPr>
        <p:spPr>
          <a:xfrm>
            <a:off x="9833208" y="3693960"/>
            <a:ext cx="6668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vWAF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514" name="图片 30">
            <a:extLst>
              <a:ext uri="{FF2B5EF4-FFF2-40B4-BE49-F238E27FC236}">
                <a16:creationId xmlns="" xmlns:a16="http://schemas.microsoft.com/office/drawing/2014/main" id="{88CAC017-743D-40D0-8066-3878921A3CF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8573" y="3015797"/>
            <a:ext cx="298061" cy="159900"/>
          </a:xfrm>
          <a:prstGeom prst="rect">
            <a:avLst/>
          </a:prstGeom>
        </p:spPr>
      </p:pic>
      <p:sp>
        <p:nvSpPr>
          <p:cNvPr id="518" name="Oval 517">
            <a:extLst>
              <a:ext uri="{FF2B5EF4-FFF2-40B4-BE49-F238E27FC236}">
                <a16:creationId xmlns="" xmlns:a16="http://schemas.microsoft.com/office/drawing/2014/main" id="{8EEB0D7D-ED50-46E0-AC89-80D6D03061F2}"/>
              </a:ext>
            </a:extLst>
          </p:cNvPr>
          <p:cNvSpPr/>
          <p:nvPr/>
        </p:nvSpPr>
        <p:spPr>
          <a:xfrm>
            <a:off x="8149115" y="4208884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9" name="文本框 31">
            <a:extLst>
              <a:ext uri="{FF2B5EF4-FFF2-40B4-BE49-F238E27FC236}">
                <a16:creationId xmlns="" xmlns:a16="http://schemas.microsoft.com/office/drawing/2014/main" id="{DD2EF70A-7D0D-4610-8062-F80A24BBEC4C}"/>
              </a:ext>
            </a:extLst>
          </p:cNvPr>
          <p:cNvSpPr txBox="1"/>
          <p:nvPr/>
        </p:nvSpPr>
        <p:spPr>
          <a:xfrm>
            <a:off x="7997096" y="4631877"/>
            <a:ext cx="6668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WAF</a:t>
            </a:r>
            <a:endParaRPr lang="zh-CN" altLang="en-US" sz="800" b="1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20" name="Oval 519">
            <a:extLst>
              <a:ext uri="{FF2B5EF4-FFF2-40B4-BE49-F238E27FC236}">
                <a16:creationId xmlns="" xmlns:a16="http://schemas.microsoft.com/office/drawing/2014/main" id="{E9B0F487-45F1-4FBE-A304-786DA06E055D}"/>
              </a:ext>
            </a:extLst>
          </p:cNvPr>
          <p:cNvSpPr/>
          <p:nvPr/>
        </p:nvSpPr>
        <p:spPr>
          <a:xfrm>
            <a:off x="7835329" y="3951646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1" name="Oval 520">
            <a:extLst>
              <a:ext uri="{FF2B5EF4-FFF2-40B4-BE49-F238E27FC236}">
                <a16:creationId xmlns="" xmlns:a16="http://schemas.microsoft.com/office/drawing/2014/main" id="{98D02593-9538-470F-8DA6-08180B2BA7C9}"/>
              </a:ext>
            </a:extLst>
          </p:cNvPr>
          <p:cNvSpPr/>
          <p:nvPr/>
        </p:nvSpPr>
        <p:spPr>
          <a:xfrm>
            <a:off x="7385741" y="4017828"/>
            <a:ext cx="362841" cy="362841"/>
          </a:xfrm>
          <a:prstGeom prst="ellipse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22" name="图片 82">
            <a:extLst>
              <a:ext uri="{FF2B5EF4-FFF2-40B4-BE49-F238E27FC236}">
                <a16:creationId xmlns="" xmlns:a16="http://schemas.microsoft.com/office/drawing/2014/main" id="{736C2C70-B19B-4DB3-B13B-D1F56860A11F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857" y="4185659"/>
            <a:ext cx="152933" cy="124442"/>
          </a:xfrm>
          <a:prstGeom prst="rect">
            <a:avLst/>
          </a:prstGeom>
        </p:spPr>
      </p:pic>
      <p:pic>
        <p:nvPicPr>
          <p:cNvPr id="523" name="图片 83">
            <a:extLst>
              <a:ext uri="{FF2B5EF4-FFF2-40B4-BE49-F238E27FC236}">
                <a16:creationId xmlns="" xmlns:a16="http://schemas.microsoft.com/office/drawing/2014/main" id="{91EA2B86-BAF3-4EC3-9584-6D63E4BC90B4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476" y="4101789"/>
            <a:ext cx="152933" cy="124442"/>
          </a:xfrm>
          <a:prstGeom prst="rect">
            <a:avLst/>
          </a:prstGeom>
        </p:spPr>
      </p:pic>
      <p:pic>
        <p:nvPicPr>
          <p:cNvPr id="524" name="图片 80">
            <a:extLst>
              <a:ext uri="{FF2B5EF4-FFF2-40B4-BE49-F238E27FC236}">
                <a16:creationId xmlns="" xmlns:a16="http://schemas.microsoft.com/office/drawing/2014/main" id="{A565EAE1-F6F4-492F-AFCB-9A9CB9C9EA92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3975" y="4350790"/>
            <a:ext cx="262586" cy="86731"/>
          </a:xfrm>
          <a:prstGeom prst="rect">
            <a:avLst/>
          </a:prstGeom>
        </p:spPr>
      </p:pic>
      <p:pic>
        <p:nvPicPr>
          <p:cNvPr id="525" name="图片 78">
            <a:extLst>
              <a:ext uri="{FF2B5EF4-FFF2-40B4-BE49-F238E27FC236}">
                <a16:creationId xmlns="" xmlns:a16="http://schemas.microsoft.com/office/drawing/2014/main" id="{C926A03F-C6F8-4A5D-9562-44AC47B88BA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229" y="4057857"/>
            <a:ext cx="174667" cy="190023"/>
          </a:xfrm>
          <a:prstGeom prst="rect">
            <a:avLst/>
          </a:prstGeom>
        </p:spPr>
      </p:pic>
      <p:sp>
        <p:nvSpPr>
          <p:cNvPr id="526" name="文本框 71">
            <a:extLst>
              <a:ext uri="{FF2B5EF4-FFF2-40B4-BE49-F238E27FC236}">
                <a16:creationId xmlns="" xmlns:a16="http://schemas.microsoft.com/office/drawing/2014/main" id="{2FC1F30E-60AD-4A66-A113-E197D0B7D878}"/>
              </a:ext>
            </a:extLst>
          </p:cNvPr>
          <p:cNvSpPr txBox="1"/>
          <p:nvPr/>
        </p:nvSpPr>
        <p:spPr>
          <a:xfrm>
            <a:off x="6241420" y="4059300"/>
            <a:ext cx="8614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BDS</a:t>
            </a:r>
            <a:endParaRPr lang="zh-CN" altLang="en-US" sz="1600" b="1" dirty="0">
              <a:solidFill>
                <a:srgbClr val="C0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527" name="图片 70">
            <a:extLst>
              <a:ext uri="{FF2B5EF4-FFF2-40B4-BE49-F238E27FC236}">
                <a16:creationId xmlns="" xmlns:a16="http://schemas.microsoft.com/office/drawing/2014/main" id="{6D96B04D-06E1-40EF-9387-DE8EDF0F07F3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3868" y="3909171"/>
            <a:ext cx="677374" cy="225489"/>
          </a:xfrm>
          <a:prstGeom prst="rect">
            <a:avLst/>
          </a:prstGeom>
        </p:spPr>
      </p:pic>
      <p:sp>
        <p:nvSpPr>
          <p:cNvPr id="111" name="文本框 71">
            <a:extLst>
              <a:ext uri="{FF2B5EF4-FFF2-40B4-BE49-F238E27FC236}">
                <a16:creationId xmlns="" xmlns:a16="http://schemas.microsoft.com/office/drawing/2014/main" id="{38B133FE-E599-5549-A173-CE7CBDC9A4E5}"/>
              </a:ext>
            </a:extLst>
          </p:cNvPr>
          <p:cNvSpPr txBox="1"/>
          <p:nvPr/>
        </p:nvSpPr>
        <p:spPr>
          <a:xfrm>
            <a:off x="4121309" y="2249492"/>
            <a:ext cx="1141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Source</a:t>
            </a:r>
            <a:endParaRPr lang="zh-CN" altLang="en-US" sz="1600" b="1" dirty="0">
              <a:solidFill>
                <a:srgbClr val="C0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13" name="任意多边形: 形状 147">
            <a:extLst>
              <a:ext uri="{FF2B5EF4-FFF2-40B4-BE49-F238E27FC236}">
                <a16:creationId xmlns="" xmlns:a16="http://schemas.microsoft.com/office/drawing/2014/main" id="{8A662CB5-BF05-1548-B3C3-9DFEB130C6C9}"/>
              </a:ext>
            </a:extLst>
          </p:cNvPr>
          <p:cNvSpPr/>
          <p:nvPr/>
        </p:nvSpPr>
        <p:spPr>
          <a:xfrm rot="10800000">
            <a:off x="4940716" y="3002219"/>
            <a:ext cx="3293161" cy="1519451"/>
          </a:xfrm>
          <a:custGeom>
            <a:avLst/>
            <a:gdLst>
              <a:gd name="connsiteX0" fmla="*/ 357809 w 357809"/>
              <a:gd name="connsiteY0" fmla="*/ 1260850 h 1260850"/>
              <a:gd name="connsiteX1" fmla="*/ 0 w 357809"/>
              <a:gd name="connsiteY1" fmla="*/ 0 h 1260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57809" h="1260850">
                <a:moveTo>
                  <a:pt x="357809" y="1260850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C00000"/>
            </a:solidFill>
            <a:prstDash val="dash"/>
            <a:miter lim="800000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0223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1864753-9960-4DD1-8A5D-3302D883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>
                <a:latin typeface=""/>
                <a:sym typeface=""/>
              </a:rPr>
              <a:t>iSource</a:t>
            </a:r>
            <a:r>
              <a:rPr lang="en-US" altLang="zh-CN" dirty="0">
                <a:latin typeface=""/>
                <a:sym typeface=""/>
              </a:rPr>
              <a:t> Feature Highlights</a:t>
            </a:r>
            <a:endParaRPr lang="en-US" dirty="0"/>
          </a:p>
        </p:txBody>
      </p:sp>
      <p:sp>
        <p:nvSpPr>
          <p:cNvPr id="55" name="文本框 162">
            <a:extLst>
              <a:ext uri="{FF2B5EF4-FFF2-40B4-BE49-F238E27FC236}">
                <a16:creationId xmlns="" xmlns:a16="http://schemas.microsoft.com/office/drawing/2014/main" id="{4237252A-2C98-45B5-A974-7F5A13E33457}"/>
              </a:ext>
            </a:extLst>
          </p:cNvPr>
          <p:cNvSpPr txBox="1"/>
          <p:nvPr/>
        </p:nvSpPr>
        <p:spPr>
          <a:xfrm>
            <a:off x="1977481" y="778510"/>
            <a:ext cx="3336137" cy="355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2" name="文本框 162">
            <a:extLst>
              <a:ext uri="{FF2B5EF4-FFF2-40B4-BE49-F238E27FC236}">
                <a16:creationId xmlns="" xmlns:a16="http://schemas.microsoft.com/office/drawing/2014/main" id="{344620B4-10D8-4A0B-9E56-B630765AAB79}"/>
              </a:ext>
            </a:extLst>
          </p:cNvPr>
          <p:cNvSpPr txBox="1"/>
          <p:nvPr/>
        </p:nvSpPr>
        <p:spPr>
          <a:xfrm>
            <a:off x="1337906" y="7227314"/>
            <a:ext cx="3521676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60D52277-C4B9-43A9-BE72-83FE40FF4338}"/>
              </a:ext>
            </a:extLst>
          </p:cNvPr>
          <p:cNvSpPr/>
          <p:nvPr/>
        </p:nvSpPr>
        <p:spPr>
          <a:xfrm>
            <a:off x="587375" y="1483210"/>
            <a:ext cx="3547581" cy="2313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61CFB9DC-B8F2-4686-A179-3A051F402D92}"/>
              </a:ext>
            </a:extLst>
          </p:cNvPr>
          <p:cNvSpPr/>
          <p:nvPr/>
        </p:nvSpPr>
        <p:spPr>
          <a:xfrm>
            <a:off x="587300" y="1486869"/>
            <a:ext cx="3547580" cy="589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0" bIns="0" rtlCol="0" anchor="ctr"/>
          <a:lstStyle/>
          <a:p>
            <a:r>
              <a:rPr kumimoji="0" lang="en-US" altLang="zh-CN" sz="1400" b="1" i="0" u="none" strike="noStrike" kern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Complete Data Collection </a:t>
            </a:r>
            <a:br>
              <a:rPr kumimoji="0" lang="en-US" altLang="zh-CN" sz="1400" b="1" i="0" u="none" strike="noStrike" kern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rPr>
            </a:br>
            <a:r>
              <a:rPr kumimoji="0" lang="en-US" altLang="zh-CN" sz="1400" b="1" i="0" u="none" strike="noStrike" kern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&amp; Full Visibility</a:t>
            </a:r>
            <a:endParaRPr kumimoji="0" lang="zh-CN" altLang="en-US" sz="1400" b="1" i="0" u="none" strike="noStrike" kern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"/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="" xmlns:a16="http://schemas.microsoft.com/office/drawing/2014/main" id="{09B504CA-CF23-4CBC-B373-8DE2AD3D56F6}"/>
              </a:ext>
            </a:extLst>
          </p:cNvPr>
          <p:cNvSpPr txBox="1"/>
          <p:nvPr/>
        </p:nvSpPr>
        <p:spPr>
          <a:xfrm>
            <a:off x="839788" y="2292670"/>
            <a:ext cx="2970212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ranular</a:t>
            </a:r>
            <a:r>
              <a:rPr lang="x-none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data collection</a:t>
            </a: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Full screen dashboard with rich security inform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7D7737A6-4263-4CE5-ADE0-D9BB7474E905}"/>
              </a:ext>
            </a:extLst>
          </p:cNvPr>
          <p:cNvSpPr/>
          <p:nvPr/>
        </p:nvSpPr>
        <p:spPr>
          <a:xfrm>
            <a:off x="587374" y="1486868"/>
            <a:ext cx="536575" cy="5895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="" xmlns:a16="http://schemas.microsoft.com/office/drawing/2014/main" id="{805D02EF-5046-410B-85E8-9F6314F13D57}"/>
              </a:ext>
            </a:extLst>
          </p:cNvPr>
          <p:cNvSpPr/>
          <p:nvPr/>
        </p:nvSpPr>
        <p:spPr>
          <a:xfrm>
            <a:off x="587450" y="3955128"/>
            <a:ext cx="3547581" cy="2313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Rectangle 216">
            <a:extLst>
              <a:ext uri="{FF2B5EF4-FFF2-40B4-BE49-F238E27FC236}">
                <a16:creationId xmlns="" xmlns:a16="http://schemas.microsoft.com/office/drawing/2014/main" id="{38988541-9F4B-457F-ACA7-B44CA8812BCF}"/>
              </a:ext>
            </a:extLst>
          </p:cNvPr>
          <p:cNvSpPr/>
          <p:nvPr/>
        </p:nvSpPr>
        <p:spPr>
          <a:xfrm>
            <a:off x="587300" y="3958787"/>
            <a:ext cx="3547580" cy="589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0" bIns="0" rtlCol="0" anchor="ctr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Investigation</a:t>
            </a:r>
            <a:endParaRPr lang="zh-CN" altLang="en-US" sz="1600" b="1" dirty="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="" xmlns:a16="http://schemas.microsoft.com/office/drawing/2014/main" id="{6AB4D0AE-CA63-4BC0-B1DD-794DA09AE56B}"/>
              </a:ext>
            </a:extLst>
          </p:cNvPr>
          <p:cNvSpPr txBox="1"/>
          <p:nvPr/>
        </p:nvSpPr>
        <p:spPr>
          <a:xfrm>
            <a:off x="839788" y="4751736"/>
            <a:ext cx="2970212" cy="14465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hreat analysis via SPL language based log search</a:t>
            </a: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Threat insight</a:t>
            </a:r>
            <a:r>
              <a:rPr lang="x-none" sz="140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isplays interconnectivity between assets to pinpoint the source of attack</a:t>
            </a:r>
            <a:endParaRPr lang="x-non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reat hunting 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="" xmlns:a16="http://schemas.microsoft.com/office/drawing/2014/main" id="{93C8E26C-18D8-427B-9175-AFDABC7000C7}"/>
              </a:ext>
            </a:extLst>
          </p:cNvPr>
          <p:cNvSpPr/>
          <p:nvPr/>
        </p:nvSpPr>
        <p:spPr>
          <a:xfrm>
            <a:off x="587449" y="3958786"/>
            <a:ext cx="536575" cy="5895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="" xmlns:a16="http://schemas.microsoft.com/office/drawing/2014/main" id="{CA9F3C15-C897-4E4A-B363-9B18AC5D8F2C}"/>
              </a:ext>
            </a:extLst>
          </p:cNvPr>
          <p:cNvSpPr/>
          <p:nvPr/>
        </p:nvSpPr>
        <p:spPr>
          <a:xfrm>
            <a:off x="8056894" y="1479551"/>
            <a:ext cx="3547581" cy="2313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Rectangle 222">
            <a:extLst>
              <a:ext uri="{FF2B5EF4-FFF2-40B4-BE49-F238E27FC236}">
                <a16:creationId xmlns="" xmlns:a16="http://schemas.microsoft.com/office/drawing/2014/main" id="{31A369FC-4048-4C2D-BEF4-74E8C9C7A1DB}"/>
              </a:ext>
            </a:extLst>
          </p:cNvPr>
          <p:cNvSpPr/>
          <p:nvPr/>
        </p:nvSpPr>
        <p:spPr>
          <a:xfrm>
            <a:off x="8056819" y="1483210"/>
            <a:ext cx="3547580" cy="589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0" bIns="0" rtlCol="0" anchor="ctr"/>
          <a:lstStyle/>
          <a:p>
            <a:pPr>
              <a:defRPr/>
            </a:pPr>
            <a: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AI powered Threat Detection</a:t>
            </a:r>
            <a:b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</a:br>
            <a: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&amp; Analysis</a:t>
            </a:r>
            <a:endParaRPr lang="zh-CN" altLang="en-US" sz="1400" b="1" dirty="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="" xmlns:a16="http://schemas.microsoft.com/office/drawing/2014/main" id="{31F4CDB2-A7C9-4FB7-A216-67F1671CF9D2}"/>
              </a:ext>
            </a:extLst>
          </p:cNvPr>
          <p:cNvSpPr txBox="1"/>
          <p:nvPr/>
        </p:nvSpPr>
        <p:spPr>
          <a:xfrm>
            <a:off x="8309307" y="2292670"/>
            <a:ext cx="2970212" cy="10926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Abnormal behavior analysis</a:t>
            </a: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Correlation analysis</a:t>
            </a: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Advanced threat detection</a:t>
            </a: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Threat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ntelligence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interaction</a:t>
            </a:r>
            <a:endParaRPr lang="x-non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="" xmlns:a16="http://schemas.microsoft.com/office/drawing/2014/main" id="{A805A1E3-AA7E-4E27-8453-75DFF9C802CA}"/>
              </a:ext>
            </a:extLst>
          </p:cNvPr>
          <p:cNvSpPr/>
          <p:nvPr/>
        </p:nvSpPr>
        <p:spPr>
          <a:xfrm>
            <a:off x="8056893" y="1483209"/>
            <a:ext cx="536575" cy="5895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="" xmlns:a16="http://schemas.microsoft.com/office/drawing/2014/main" id="{43177DF3-C0B7-4473-A310-09C42BAFA61E}"/>
              </a:ext>
            </a:extLst>
          </p:cNvPr>
          <p:cNvSpPr/>
          <p:nvPr/>
        </p:nvSpPr>
        <p:spPr>
          <a:xfrm>
            <a:off x="8056969" y="3951469"/>
            <a:ext cx="3547581" cy="2313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7" name="Rectangle 256">
            <a:extLst>
              <a:ext uri="{FF2B5EF4-FFF2-40B4-BE49-F238E27FC236}">
                <a16:creationId xmlns="" xmlns:a16="http://schemas.microsoft.com/office/drawing/2014/main" id="{15744649-C0BE-447E-A4D0-E4D00C96D1B0}"/>
              </a:ext>
            </a:extLst>
          </p:cNvPr>
          <p:cNvSpPr/>
          <p:nvPr/>
        </p:nvSpPr>
        <p:spPr>
          <a:xfrm>
            <a:off x="8056819" y="3955128"/>
            <a:ext cx="3547580" cy="589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0" bIns="0" rtlCol="0" anchor="ctr"/>
          <a:lstStyle/>
          <a:p>
            <a:pPr lvl="0" eaLnBrk="1" hangingPunct="1">
              <a:defRPr/>
            </a:pPr>
            <a: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Open Platform with High scalability</a:t>
            </a:r>
            <a:endParaRPr lang="zh-CN" altLang="en-US" sz="1400" b="1" dirty="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"/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="" xmlns:a16="http://schemas.microsoft.com/office/drawing/2014/main" id="{4D88394D-815C-4B61-8346-65A5E35CB811}"/>
              </a:ext>
            </a:extLst>
          </p:cNvPr>
          <p:cNvSpPr txBox="1"/>
          <p:nvPr/>
        </p:nvSpPr>
        <p:spPr>
          <a:xfrm>
            <a:off x="8309307" y="4751736"/>
            <a:ext cx="2970212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Support 3rd party logs</a:t>
            </a: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Support 3rd part security device integration</a:t>
            </a: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Suupport clustering for scalability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="" xmlns:a16="http://schemas.microsoft.com/office/drawing/2014/main" id="{423DCF27-4912-4E32-BBEE-0025CE2D91C5}"/>
              </a:ext>
            </a:extLst>
          </p:cNvPr>
          <p:cNvSpPr/>
          <p:nvPr/>
        </p:nvSpPr>
        <p:spPr>
          <a:xfrm>
            <a:off x="8056968" y="3955127"/>
            <a:ext cx="536575" cy="5895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06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="" xmlns:a16="http://schemas.microsoft.com/office/drawing/2014/main" id="{1BE79533-58AC-49C2-9FD4-4A227EC1A597}"/>
              </a:ext>
            </a:extLst>
          </p:cNvPr>
          <p:cNvSpPr/>
          <p:nvPr/>
        </p:nvSpPr>
        <p:spPr>
          <a:xfrm>
            <a:off x="4321833" y="1486868"/>
            <a:ext cx="3547581" cy="2313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2" name="Rectangle 281">
            <a:extLst>
              <a:ext uri="{FF2B5EF4-FFF2-40B4-BE49-F238E27FC236}">
                <a16:creationId xmlns="" xmlns:a16="http://schemas.microsoft.com/office/drawing/2014/main" id="{93FAD9D5-EBF9-45B8-955C-2389ABBA348A}"/>
              </a:ext>
            </a:extLst>
          </p:cNvPr>
          <p:cNvSpPr/>
          <p:nvPr/>
        </p:nvSpPr>
        <p:spPr>
          <a:xfrm>
            <a:off x="4321758" y="1490527"/>
            <a:ext cx="3547580" cy="589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0" bIns="0" rtlCol="0" anchor="ctr"/>
          <a:lstStyle/>
          <a:p>
            <a:pPr lvl="0" eaLnBrk="1" hangingPunct="1">
              <a:defRPr/>
            </a:pPr>
            <a: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Asset Discovery and </a:t>
            </a:r>
            <a:b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</a:br>
            <a: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Management</a:t>
            </a:r>
            <a:endParaRPr lang="zh-CN" altLang="en-US" sz="1400" b="1" dirty="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"/>
            </a:endParaRPr>
          </a:p>
        </p:txBody>
      </p:sp>
      <p:sp>
        <p:nvSpPr>
          <p:cNvPr id="283" name="TextBox 282">
            <a:extLst>
              <a:ext uri="{FF2B5EF4-FFF2-40B4-BE49-F238E27FC236}">
                <a16:creationId xmlns="" xmlns:a16="http://schemas.microsoft.com/office/drawing/2014/main" id="{91514701-5BBE-4376-B10F-802F87046AB2}"/>
              </a:ext>
            </a:extLst>
          </p:cNvPr>
          <p:cNvSpPr txBox="1"/>
          <p:nvPr/>
        </p:nvSpPr>
        <p:spPr>
          <a:xfrm>
            <a:off x="4574246" y="2292670"/>
            <a:ext cx="297021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uto discovery of assets</a:t>
            </a:r>
            <a:endParaRPr lang="x-non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>
                <a:latin typeface="Arial" panose="020B0604020202020204" pitchFamily="34" charset="0"/>
                <a:cs typeface="Arial" panose="020B0604020202020204" pitchFamily="34" charset="0"/>
              </a:rPr>
              <a:t>Asse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x-none" sz="1400">
                <a:latin typeface="Arial" panose="020B0604020202020204" pitchFamily="34" charset="0"/>
                <a:cs typeface="Arial" panose="020B0604020202020204" pitchFamily="34" charset="0"/>
              </a:rPr>
              <a:t>based threat managemen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endParaRPr lang="x-non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5" name="Rectangle 284">
            <a:extLst>
              <a:ext uri="{FF2B5EF4-FFF2-40B4-BE49-F238E27FC236}">
                <a16:creationId xmlns="" xmlns:a16="http://schemas.microsoft.com/office/drawing/2014/main" id="{390101F2-D0F8-4EF1-BF6D-13CB239626F8}"/>
              </a:ext>
            </a:extLst>
          </p:cNvPr>
          <p:cNvSpPr/>
          <p:nvPr/>
        </p:nvSpPr>
        <p:spPr>
          <a:xfrm>
            <a:off x="4321832" y="1490526"/>
            <a:ext cx="536575" cy="5895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="" xmlns:a16="http://schemas.microsoft.com/office/drawing/2014/main" id="{D89AA8D1-78EF-40FB-82C2-F49337AAB07C}"/>
              </a:ext>
            </a:extLst>
          </p:cNvPr>
          <p:cNvSpPr/>
          <p:nvPr/>
        </p:nvSpPr>
        <p:spPr>
          <a:xfrm>
            <a:off x="4321908" y="3958786"/>
            <a:ext cx="3547581" cy="2313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7" name="Rectangle 286">
            <a:extLst>
              <a:ext uri="{FF2B5EF4-FFF2-40B4-BE49-F238E27FC236}">
                <a16:creationId xmlns="" xmlns:a16="http://schemas.microsoft.com/office/drawing/2014/main" id="{15775F12-7C63-449E-B61B-E173C42B30BE}"/>
              </a:ext>
            </a:extLst>
          </p:cNvPr>
          <p:cNvSpPr/>
          <p:nvPr/>
        </p:nvSpPr>
        <p:spPr>
          <a:xfrm>
            <a:off x="4321758" y="3962445"/>
            <a:ext cx="3547580" cy="589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0" bIns="0" rtlCol="0" anchor="ctr"/>
          <a:lstStyle/>
          <a:p>
            <a:pPr>
              <a:defRPr/>
            </a:pPr>
            <a: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Automated Orchestration </a:t>
            </a:r>
            <a:b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</a:br>
            <a:r>
              <a:rPr lang="en-US" altLang="zh-CN" sz="1400" b="1" dirty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and Response</a:t>
            </a:r>
            <a:endParaRPr lang="zh-CN" altLang="en-US" sz="1400" b="1" dirty="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"/>
            </a:endParaRPr>
          </a:p>
        </p:txBody>
      </p:sp>
      <p:sp>
        <p:nvSpPr>
          <p:cNvPr id="288" name="TextBox 287">
            <a:extLst>
              <a:ext uri="{FF2B5EF4-FFF2-40B4-BE49-F238E27FC236}">
                <a16:creationId xmlns="" xmlns:a16="http://schemas.microsoft.com/office/drawing/2014/main" id="{6F88C1C8-11FD-4CFD-97BF-4A6EC6554AA1}"/>
              </a:ext>
            </a:extLst>
          </p:cNvPr>
          <p:cNvSpPr txBox="1"/>
          <p:nvPr/>
        </p:nvSpPr>
        <p:spPr>
          <a:xfrm>
            <a:off x="4574246" y="4751736"/>
            <a:ext cx="2970212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laybook driven orchestration</a:t>
            </a:r>
          </a:p>
          <a:p>
            <a:pPr marL="182880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x-none" sz="1400" dirty="0">
                <a:latin typeface="Arial" panose="020B0604020202020204" pitchFamily="34" charset="0"/>
                <a:cs typeface="Arial" panose="020B0604020202020204" pitchFamily="34" charset="0"/>
              </a:rPr>
              <a:t>Auto responses over enforcement points(integrated security devices)</a:t>
            </a:r>
          </a:p>
        </p:txBody>
      </p:sp>
      <p:sp>
        <p:nvSpPr>
          <p:cNvPr id="289" name="Rectangle 288">
            <a:extLst>
              <a:ext uri="{FF2B5EF4-FFF2-40B4-BE49-F238E27FC236}">
                <a16:creationId xmlns="" xmlns:a16="http://schemas.microsoft.com/office/drawing/2014/main" id="{CB0E823C-FEF1-4391-82F3-CE662CB367FA}"/>
              </a:ext>
            </a:extLst>
          </p:cNvPr>
          <p:cNvSpPr/>
          <p:nvPr/>
        </p:nvSpPr>
        <p:spPr>
          <a:xfrm>
            <a:off x="4321907" y="3962444"/>
            <a:ext cx="536575" cy="5895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46947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 Slide Light">
  <a:themeElements>
    <a:clrScheme name="Custom 13">
      <a:dk1>
        <a:srgbClr val="231F20"/>
      </a:dk1>
      <a:lt1>
        <a:sysClr val="window" lastClr="FFFFFF"/>
      </a:lt1>
      <a:dk2>
        <a:srgbClr val="003285"/>
      </a:dk2>
      <a:lt2>
        <a:srgbClr val="6260A7"/>
      </a:lt2>
      <a:accent1>
        <a:srgbClr val="003285"/>
      </a:accent1>
      <a:accent2>
        <a:srgbClr val="F07130"/>
      </a:accent2>
      <a:accent3>
        <a:srgbClr val="FBB831"/>
      </a:accent3>
      <a:accent4>
        <a:srgbClr val="2088C6"/>
      </a:accent4>
      <a:accent5>
        <a:srgbClr val="00BA73"/>
      </a:accent5>
      <a:accent6>
        <a:srgbClr val="70AD47"/>
      </a:accent6>
      <a:hlink>
        <a:srgbClr val="CF2353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563</TotalTime>
  <Words>3605</Words>
  <Application>Microsoft Office PowerPoint</Application>
  <PresentationFormat>宽屏</PresentationFormat>
  <Paragraphs>965</Paragraphs>
  <Slides>52</Slides>
  <Notes>3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2</vt:i4>
      </vt:variant>
    </vt:vector>
  </HeadingPairs>
  <TitlesOfParts>
    <vt:vector size="67" baseType="lpstr">
      <vt:lpstr>Arial Unicode MS</vt:lpstr>
      <vt:lpstr>MS PGothic</vt:lpstr>
      <vt:lpstr>等线</vt:lpstr>
      <vt:lpstr>等线 Light</vt:lpstr>
      <vt:lpstr>思源黑体 CN Regular</vt:lpstr>
      <vt:lpstr>思源宋体 CN Medium</vt:lpstr>
      <vt:lpstr>微软雅黑</vt:lpstr>
      <vt:lpstr>游ゴシック</vt:lpstr>
      <vt:lpstr>Arial</vt:lpstr>
      <vt:lpstr>Calibri</vt:lpstr>
      <vt:lpstr>Calibri Light</vt:lpstr>
      <vt:lpstr>Times New Roman</vt:lpstr>
      <vt:lpstr>Wingdings</vt:lpstr>
      <vt:lpstr>Blank Slide Light</vt:lpstr>
      <vt:lpstr>think-cell Slide</vt:lpstr>
      <vt:lpstr>Hillstone iSource Product Introduction</vt:lpstr>
      <vt:lpstr>PowerPoint 演示文稿</vt:lpstr>
      <vt:lpstr>Business Problem</vt:lpstr>
      <vt:lpstr>New IT Trends Brings New Challenges</vt:lpstr>
      <vt:lpstr>Key Problems In Security Operation</vt:lpstr>
      <vt:lpstr>What Do Customers Need?</vt:lpstr>
      <vt:lpstr>Introduction of Hillstone iSource </vt:lpstr>
      <vt:lpstr>Hillstone XDR Solution Overview</vt:lpstr>
      <vt:lpstr>iSource Feature Highlights</vt:lpstr>
      <vt:lpstr>iSource: XDR Solution Architecture</vt:lpstr>
      <vt:lpstr>Complete Data Collection Across The Environment</vt:lpstr>
      <vt:lpstr>Full-screen Monitoring Dashboards</vt:lpstr>
      <vt:lpstr>Full-screen Monitoring Dashboards</vt:lpstr>
      <vt:lpstr>Full-screen Monitoring Dashboards</vt:lpstr>
      <vt:lpstr>Full-screen Monitoring Dashboards</vt:lpstr>
      <vt:lpstr>Full-screen Monitoring Dashboards</vt:lpstr>
      <vt:lpstr>Full-screen Monitoring Dashboards</vt:lpstr>
      <vt:lpstr>Full-screen Monitoring Dashboards</vt:lpstr>
      <vt:lpstr>Hierarchical Management</vt:lpstr>
      <vt:lpstr>Traffic Monitoring</vt:lpstr>
      <vt:lpstr>Traffic Insight</vt:lpstr>
      <vt:lpstr>Threat Management</vt:lpstr>
      <vt:lpstr>Advanced Threat Analysis</vt:lpstr>
      <vt:lpstr>Threat Aggregation</vt:lpstr>
      <vt:lpstr>Forensics</vt:lpstr>
      <vt:lpstr>Vulnerability Analysis</vt:lpstr>
      <vt:lpstr>Automated Security Orchestration</vt:lpstr>
      <vt:lpstr>Threat Responses – Integrated Devices</vt:lpstr>
      <vt:lpstr>Threat Responses – Case Management</vt:lpstr>
      <vt:lpstr>Risk Management</vt:lpstr>
      <vt:lpstr>Assets Management</vt:lpstr>
      <vt:lpstr>Favorite Asset and Threat Event Management</vt:lpstr>
      <vt:lpstr>Intelligence Management</vt:lpstr>
      <vt:lpstr>Log Management</vt:lpstr>
      <vt:lpstr>Report Management</vt:lpstr>
      <vt:lpstr>XDR Eco-System</vt:lpstr>
      <vt:lpstr>Product Models &amp; Ordering Info</vt:lpstr>
      <vt:lpstr>Hillstone iSource Product Portfolio</vt:lpstr>
      <vt:lpstr>iSource Software Package Format</vt:lpstr>
      <vt:lpstr>Hillstone iSource Specification</vt:lpstr>
      <vt:lpstr>iSource Ordering Guide</vt:lpstr>
      <vt:lpstr>Deployment Scenarios &amp; Use Cases</vt:lpstr>
      <vt:lpstr>PowerPoint 演示文稿</vt:lpstr>
      <vt:lpstr>PowerPoint 演示文稿</vt:lpstr>
      <vt:lpstr>Use Case- Ransomware Solution</vt:lpstr>
      <vt:lpstr>Use Case– Crypto-mining</vt:lpstr>
      <vt:lpstr>Use Case– Closed Loop Response</vt:lpstr>
      <vt:lpstr>Case Studies</vt:lpstr>
      <vt:lpstr>Protect Critical Business for A National Bank</vt:lpstr>
      <vt:lpstr>Protect Branch Security for A Service Provider</vt:lpstr>
      <vt:lpstr>Streamline Security Operation for A Government Agency 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UARIO</dc:creator>
  <cp:lastModifiedBy>Tracy Ding</cp:lastModifiedBy>
  <cp:revision>464</cp:revision>
  <dcterms:created xsi:type="dcterms:W3CDTF">2021-09-14T14:48:55Z</dcterms:created>
  <dcterms:modified xsi:type="dcterms:W3CDTF">2023-06-05T08:29:19Z</dcterms:modified>
</cp:coreProperties>
</file>